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005" r:id="rId5"/>
  </p:sldMasterIdLst>
  <p:notesMasterIdLst>
    <p:notesMasterId r:id="rId96"/>
  </p:notesMasterIdLst>
  <p:handoutMasterIdLst>
    <p:handoutMasterId r:id="rId97"/>
  </p:handoutMasterIdLst>
  <p:sldIdLst>
    <p:sldId id="2142534925" r:id="rId6"/>
    <p:sldId id="2142534927" r:id="rId7"/>
    <p:sldId id="2142534820" r:id="rId8"/>
    <p:sldId id="2142534818" r:id="rId9"/>
    <p:sldId id="2142534819" r:id="rId10"/>
    <p:sldId id="2142534952" r:id="rId11"/>
    <p:sldId id="2142534953" r:id="rId12"/>
    <p:sldId id="2142534774" r:id="rId13"/>
    <p:sldId id="2142534929" r:id="rId14"/>
    <p:sldId id="2142534936" r:id="rId15"/>
    <p:sldId id="2142534928" r:id="rId16"/>
    <p:sldId id="2142534791" r:id="rId17"/>
    <p:sldId id="2142534792" r:id="rId18"/>
    <p:sldId id="2142534931" r:id="rId19"/>
    <p:sldId id="2142534822" r:id="rId20"/>
    <p:sldId id="2142534828" r:id="rId21"/>
    <p:sldId id="2142534825" r:id="rId22"/>
    <p:sldId id="2142534827" r:id="rId23"/>
    <p:sldId id="2142534829" r:id="rId24"/>
    <p:sldId id="2142534830" r:id="rId25"/>
    <p:sldId id="2142534831" r:id="rId26"/>
    <p:sldId id="2142534882" r:id="rId27"/>
    <p:sldId id="2142534884" r:id="rId28"/>
    <p:sldId id="2142534885" r:id="rId29"/>
    <p:sldId id="2142534955" r:id="rId30"/>
    <p:sldId id="2142534833" r:id="rId31"/>
    <p:sldId id="2142534834" r:id="rId32"/>
    <p:sldId id="2142534886" r:id="rId33"/>
    <p:sldId id="2142534887" r:id="rId34"/>
    <p:sldId id="2142534835" r:id="rId35"/>
    <p:sldId id="2142534961" r:id="rId36"/>
    <p:sldId id="2142534956" r:id="rId37"/>
    <p:sldId id="2142534957" r:id="rId38"/>
    <p:sldId id="2142534958" r:id="rId39"/>
    <p:sldId id="2142534959" r:id="rId40"/>
    <p:sldId id="2142534960" r:id="rId41"/>
    <p:sldId id="2142534937" r:id="rId42"/>
    <p:sldId id="2142534962" r:id="rId43"/>
    <p:sldId id="2142534932" r:id="rId44"/>
    <p:sldId id="2142534967" r:id="rId45"/>
    <p:sldId id="2142534968" r:id="rId46"/>
    <p:sldId id="2142534969" r:id="rId47"/>
    <p:sldId id="2142534970" r:id="rId48"/>
    <p:sldId id="2142534971" r:id="rId49"/>
    <p:sldId id="2142534972" r:id="rId50"/>
    <p:sldId id="2142534973" r:id="rId51"/>
    <p:sldId id="2142534974" r:id="rId52"/>
    <p:sldId id="2142534975" r:id="rId53"/>
    <p:sldId id="2142534976" r:id="rId54"/>
    <p:sldId id="2142534977" r:id="rId55"/>
    <p:sldId id="2142534978" r:id="rId56"/>
    <p:sldId id="2142534979" r:id="rId57"/>
    <p:sldId id="2142534980" r:id="rId58"/>
    <p:sldId id="2142534981" r:id="rId59"/>
    <p:sldId id="2142534982" r:id="rId60"/>
    <p:sldId id="2142534983" r:id="rId61"/>
    <p:sldId id="2142534984" r:id="rId62"/>
    <p:sldId id="2142534985" r:id="rId63"/>
    <p:sldId id="2142534986" r:id="rId64"/>
    <p:sldId id="2142534987" r:id="rId65"/>
    <p:sldId id="2142534988" r:id="rId66"/>
    <p:sldId id="2142534989" r:id="rId67"/>
    <p:sldId id="2142534990" r:id="rId68"/>
    <p:sldId id="2142534991" r:id="rId69"/>
    <p:sldId id="2142534992" r:id="rId70"/>
    <p:sldId id="2142534993" r:id="rId71"/>
    <p:sldId id="2142534994" r:id="rId72"/>
    <p:sldId id="2142534995" r:id="rId73"/>
    <p:sldId id="2142534844" r:id="rId74"/>
    <p:sldId id="2142534906" r:id="rId75"/>
    <p:sldId id="2142534963" r:id="rId76"/>
    <p:sldId id="2142534933" r:id="rId77"/>
    <p:sldId id="2142534837" r:id="rId78"/>
    <p:sldId id="2142534838" r:id="rId79"/>
    <p:sldId id="2142534840" r:id="rId80"/>
    <p:sldId id="2142534836" r:id="rId81"/>
    <p:sldId id="2142534839" r:id="rId82"/>
    <p:sldId id="2142535005" r:id="rId83"/>
    <p:sldId id="2142534996" r:id="rId84"/>
    <p:sldId id="2142534997" r:id="rId85"/>
    <p:sldId id="2142534998" r:id="rId86"/>
    <p:sldId id="2142534999" r:id="rId87"/>
    <p:sldId id="2142535000" r:id="rId88"/>
    <p:sldId id="2142535001" r:id="rId89"/>
    <p:sldId id="2142535002" r:id="rId90"/>
    <p:sldId id="2142535003" r:id="rId91"/>
    <p:sldId id="2142535004" r:id="rId92"/>
    <p:sldId id="2142534966" r:id="rId93"/>
    <p:sldId id="2142534781" r:id="rId94"/>
    <p:sldId id="2142534938" r:id="rId95"/>
  </p:sldIdLst>
  <p:sldSz cx="12192000" cy="6858000"/>
  <p:notesSz cx="6858000" cy="9144000"/>
  <p:custDataLst>
    <p:tags r:id="rId9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E8B5E7E-DBCF-79D3-B621-5C919C739228}" name="Doriana Monteleone (ETF)" initials="DM" userId="S::Doriana.Monteleone@etf.europa.eu::6711a7f3-d780-41a5-88be-c386e24fad6b" providerId="AD"/>
  <p188:author id="{2A1405DC-F5E2-AD9A-2363-AD153545B567}" name="Jolien van Uden (ETF)" initials="Jv" userId="S::Jolien.van-Uden@etf.europa.eu::69cdb233-d88d-40c4-b602-23815daa2c4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B6AB"/>
    <a:srgbClr val="F2F2F2"/>
    <a:srgbClr val="0E367B"/>
    <a:srgbClr val="EEE7E4"/>
    <a:srgbClr val="0B3A75"/>
    <a:srgbClr val="27257A"/>
    <a:srgbClr val="000000"/>
    <a:srgbClr val="005191"/>
    <a:srgbClr val="750D68"/>
    <a:srgbClr val="FFD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0300D2-3F7E-6C12-E3B8-79137BB709E0}" v="120" dt="2026-02-17T15:49:23.693"/>
    <p1510:client id="{7BBDB85C-8BBA-9B24-4204-CCD4BC6AF651}" v="2" dt="2026-02-17T15:57:27.5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handoutMaster" Target="handoutMasters/handoutMaster1.xml"/><Relationship Id="rId104" Type="http://schemas.microsoft.com/office/2015/10/relationships/revisionInfo" Target="revisionInfo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viewProps" Target="viewProps.xml"/><Relationship Id="rId105" Type="http://schemas.microsoft.com/office/2018/10/relationships/authors" Target="author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tags" Target="tags/tag1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Piovano (ETF)" userId="S::maria.piovano@etf.europa.eu::9a84a9c9-ab87-4003-a6b2-bc43b03ddb08" providerId="AD" clId="Web-{7BBDB85C-8BBA-9B24-4204-CCD4BC6AF651}"/>
    <pc:docChg chg="delSld">
      <pc:chgData name="Maria Piovano (ETF)" userId="S::maria.piovano@etf.europa.eu::9a84a9c9-ab87-4003-a6b2-bc43b03ddb08" providerId="AD" clId="Web-{7BBDB85C-8BBA-9B24-4204-CCD4BC6AF651}" dt="2026-02-17T15:57:27.589" v="1"/>
      <pc:docMkLst>
        <pc:docMk/>
      </pc:docMkLst>
      <pc:sldChg chg="del">
        <pc:chgData name="Maria Piovano (ETF)" userId="S::maria.piovano@etf.europa.eu::9a84a9c9-ab87-4003-a6b2-bc43b03ddb08" providerId="AD" clId="Web-{7BBDB85C-8BBA-9B24-4204-CCD4BC6AF651}" dt="2026-02-17T15:57:00.743" v="0"/>
        <pc:sldMkLst>
          <pc:docMk/>
          <pc:sldMk cId="2616294270" sldId="2142534780"/>
        </pc:sldMkLst>
      </pc:sldChg>
      <pc:sldChg chg="del">
        <pc:chgData name="Maria Piovano (ETF)" userId="S::maria.piovano@etf.europa.eu::9a84a9c9-ab87-4003-a6b2-bc43b03ddb08" providerId="AD" clId="Web-{7BBDB85C-8BBA-9B24-4204-CCD4BC6AF651}" dt="2026-02-17T15:57:27.589" v="1"/>
        <pc:sldMkLst>
          <pc:docMk/>
          <pc:sldMk cId="1007435378" sldId="2142535006"/>
        </pc:sldMkLst>
      </pc:sldChg>
    </pc:docChg>
  </pc:docChgLst>
  <pc:docChgLst>
    <pc:chgData name="Maria Piovano (ETF)" userId="S::maria.piovano@etf.europa.eu::9a84a9c9-ab87-4003-a6b2-bc43b03ddb08" providerId="AD" clId="Web-{340300D2-3F7E-6C12-E3B8-79137BB709E0}"/>
    <pc:docChg chg="delSld">
      <pc:chgData name="Maria Piovano (ETF)" userId="S::maria.piovano@etf.europa.eu::9a84a9c9-ab87-4003-a6b2-bc43b03ddb08" providerId="AD" clId="Web-{340300D2-3F7E-6C12-E3B8-79137BB709E0}" dt="2026-02-17T15:49:23.693" v="119"/>
      <pc:docMkLst>
        <pc:docMk/>
      </pc:docMkLst>
      <pc:sldChg chg="del">
        <pc:chgData name="Maria Piovano (ETF)" userId="S::maria.piovano@etf.europa.eu::9a84a9c9-ab87-4003-a6b2-bc43b03ddb08" providerId="AD" clId="Web-{340300D2-3F7E-6C12-E3B8-79137BB709E0}" dt="2026-02-17T15:49:23.661" v="107"/>
        <pc:sldMkLst>
          <pc:docMk/>
          <pc:sldMk cId="0" sldId="27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61" v="105"/>
        <pc:sldMkLst>
          <pc:docMk/>
          <pc:sldMk cId="0" sldId="27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46" v="103"/>
        <pc:sldMkLst>
          <pc:docMk/>
          <pc:sldMk cId="455132889" sldId="30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46" v="104"/>
        <pc:sldMkLst>
          <pc:docMk/>
          <pc:sldMk cId="3017279755" sldId="30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30" v="102"/>
        <pc:sldMkLst>
          <pc:docMk/>
          <pc:sldMk cId="1670073295" sldId="30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30" v="101"/>
        <pc:sldMkLst>
          <pc:docMk/>
          <pc:sldMk cId="1917892306" sldId="30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5"/>
        <pc:sldMkLst>
          <pc:docMk/>
          <pc:sldMk cId="402272093" sldId="30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30" v="100"/>
        <pc:sldMkLst>
          <pc:docMk/>
          <pc:sldMk cId="3401671250" sldId="30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30" v="99"/>
        <pc:sldMkLst>
          <pc:docMk/>
          <pc:sldMk cId="2191302998" sldId="31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8"/>
        <pc:sldMkLst>
          <pc:docMk/>
          <pc:sldMk cId="3549788122" sldId="31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7"/>
        <pc:sldMkLst>
          <pc:docMk/>
          <pc:sldMk cId="2331418719" sldId="31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6"/>
        <pc:sldMkLst>
          <pc:docMk/>
          <pc:sldMk cId="285847070" sldId="31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61" v="106"/>
        <pc:sldMkLst>
          <pc:docMk/>
          <pc:sldMk cId="3490777728" sldId="34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99" v="91"/>
        <pc:sldMkLst>
          <pc:docMk/>
          <pc:sldMk cId="3757985436" sldId="214253471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99" v="90"/>
        <pc:sldMkLst>
          <pc:docMk/>
          <pc:sldMk cId="1251405957" sldId="214253471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99" v="89"/>
        <pc:sldMkLst>
          <pc:docMk/>
          <pc:sldMk cId="395889815" sldId="214253471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99" v="88"/>
        <pc:sldMkLst>
          <pc:docMk/>
          <pc:sldMk cId="2905654790" sldId="214253471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52"/>
        <pc:sldMkLst>
          <pc:docMk/>
          <pc:sldMk cId="531226792" sldId="214253472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51"/>
        <pc:sldMkLst>
          <pc:docMk/>
          <pc:sldMk cId="1508111407" sldId="214253472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50"/>
        <pc:sldMkLst>
          <pc:docMk/>
          <pc:sldMk cId="1113346947" sldId="214253472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93" v="119"/>
        <pc:sldMkLst>
          <pc:docMk/>
          <pc:sldMk cId="489093154" sldId="214253478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93" v="118"/>
        <pc:sldMkLst>
          <pc:docMk/>
          <pc:sldMk cId="2896736795" sldId="214253484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93" v="117"/>
        <pc:sldMkLst>
          <pc:docMk/>
          <pc:sldMk cId="1088521577" sldId="214253484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93" v="116"/>
        <pc:sldMkLst>
          <pc:docMk/>
          <pc:sldMk cId="1876285301" sldId="214253484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93" v="115"/>
        <pc:sldMkLst>
          <pc:docMk/>
          <pc:sldMk cId="3595473358" sldId="214253484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77" v="114"/>
        <pc:sldMkLst>
          <pc:docMk/>
          <pc:sldMk cId="270524418" sldId="214253485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61" v="66"/>
        <pc:sldMkLst>
          <pc:docMk/>
          <pc:sldMk cId="2731827286" sldId="214253485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2"/>
        <pc:sldMkLst>
          <pc:docMk/>
          <pc:sldMk cId="2744192873" sldId="214253485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53"/>
        <pc:sldMkLst>
          <pc:docMk/>
          <pc:sldMk cId="957343146" sldId="214253486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47"/>
        <pc:sldMkLst>
          <pc:docMk/>
          <pc:sldMk cId="853585957" sldId="214253486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58" v="38"/>
        <pc:sldMkLst>
          <pc:docMk/>
          <pc:sldMk cId="1897522638" sldId="214253487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8"/>
        <pc:sldMkLst>
          <pc:docMk/>
          <pc:sldMk cId="2780137331" sldId="214253487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6"/>
        <pc:sldMkLst>
          <pc:docMk/>
          <pc:sldMk cId="2587510206" sldId="214253487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49" v="5"/>
        <pc:sldMkLst>
          <pc:docMk/>
          <pc:sldMk cId="2656886433" sldId="214253487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43"/>
        <pc:sldMkLst>
          <pc:docMk/>
          <pc:sldMk cId="2014061483" sldId="214253488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61" v="65"/>
        <pc:sldMkLst>
          <pc:docMk/>
          <pc:sldMk cId="274471403" sldId="214253489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46"/>
        <pc:sldMkLst>
          <pc:docMk/>
          <pc:sldMk cId="3168874389" sldId="214253489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42"/>
        <pc:sldMkLst>
          <pc:docMk/>
          <pc:sldMk cId="3140792240" sldId="214253489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58" v="37"/>
        <pc:sldMkLst>
          <pc:docMk/>
          <pc:sldMk cId="2608826231" sldId="214253489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58" v="36"/>
        <pc:sldMkLst>
          <pc:docMk/>
          <pc:sldMk cId="3391951652" sldId="214253490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58" v="35"/>
        <pc:sldMkLst>
          <pc:docMk/>
          <pc:sldMk cId="4048523952" sldId="214253490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42" v="32"/>
        <pc:sldMkLst>
          <pc:docMk/>
          <pc:sldMk cId="1843393391" sldId="214253490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42" v="31"/>
        <pc:sldMkLst>
          <pc:docMk/>
          <pc:sldMk cId="2987131562" sldId="214253490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505" v="57"/>
        <pc:sldMkLst>
          <pc:docMk/>
          <pc:sldMk cId="2005806777" sldId="214253490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505" v="56"/>
        <pc:sldMkLst>
          <pc:docMk/>
          <pc:sldMk cId="4083296717" sldId="214253490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27" v="26"/>
        <pc:sldMkLst>
          <pc:docMk/>
          <pc:sldMk cId="1972997979" sldId="214253491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27" v="25"/>
        <pc:sldMkLst>
          <pc:docMk/>
          <pc:sldMk cId="3638519920" sldId="214253491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58" v="33"/>
        <pc:sldMkLst>
          <pc:docMk/>
          <pc:sldMk cId="53635284" sldId="214253491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46" v="62"/>
        <pc:sldMkLst>
          <pc:docMk/>
          <pc:sldMk cId="0" sldId="214253491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46" v="61"/>
        <pc:sldMkLst>
          <pc:docMk/>
          <pc:sldMk cId="3349957090" sldId="214253491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30" v="60"/>
        <pc:sldMkLst>
          <pc:docMk/>
          <pc:sldMk cId="3291237671" sldId="214253491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30" v="59"/>
        <pc:sldMkLst>
          <pc:docMk/>
          <pc:sldMk cId="913042553" sldId="214253491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505" v="58"/>
        <pc:sldMkLst>
          <pc:docMk/>
          <pc:sldMk cId="1361497050" sldId="214253492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7:39.940" v="0"/>
        <pc:sldMkLst>
          <pc:docMk/>
          <pc:sldMk cId="1084993697" sldId="214253493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7:48.300" v="1"/>
        <pc:sldMkLst>
          <pc:docMk/>
          <pc:sldMk cId="3973815249" sldId="214253493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3"/>
        <pc:sldMkLst>
          <pc:docMk/>
          <pc:sldMk cId="4000328274" sldId="214253494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83" v="87"/>
        <pc:sldMkLst>
          <pc:docMk/>
          <pc:sldMk cId="2564879012" sldId="214253494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61" v="63"/>
        <pc:sldMkLst>
          <pc:docMk/>
          <pc:sldMk cId="3462650446" sldId="214253494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505" v="55"/>
        <pc:sldMkLst>
          <pc:docMk/>
          <pc:sldMk cId="1598370514" sldId="214253494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505" v="54"/>
        <pc:sldMkLst>
          <pc:docMk/>
          <pc:sldMk cId="3208171997" sldId="214253494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49"/>
        <pc:sldMkLst>
          <pc:docMk/>
          <pc:sldMk cId="2861335913" sldId="214253494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40"/>
        <pc:sldMkLst>
          <pc:docMk/>
          <pc:sldMk cId="2609482530" sldId="214253494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39"/>
        <pc:sldMkLst>
          <pc:docMk/>
          <pc:sldMk cId="1788750116" sldId="214253494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44"/>
        <pc:sldMkLst>
          <pc:docMk/>
          <pc:sldMk cId="4175796318" sldId="214253495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49" v="4"/>
        <pc:sldMkLst>
          <pc:docMk/>
          <pc:sldMk cId="1790216398" sldId="214253496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146" v="3"/>
        <pc:sldMkLst>
          <pc:docMk/>
          <pc:sldMk cId="4192243128" sldId="214253496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83" v="85"/>
        <pc:sldMkLst>
          <pc:docMk/>
          <pc:sldMk cId="3965586888" sldId="214253501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83" v="83"/>
        <pc:sldMkLst>
          <pc:docMk/>
          <pc:sldMk cId="632275817" sldId="214253502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68" v="82"/>
        <pc:sldMkLst>
          <pc:docMk/>
          <pc:sldMk cId="4253713601" sldId="214253502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77" v="112"/>
        <pc:sldMkLst>
          <pc:docMk/>
          <pc:sldMk cId="2351266397" sldId="214253502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77" v="113"/>
        <pc:sldMkLst>
          <pc:docMk/>
          <pc:sldMk cId="2870097864" sldId="214253502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89" v="48"/>
        <pc:sldMkLst>
          <pc:docMk/>
          <pc:sldMk cId="557507089" sldId="214253502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83" v="86"/>
        <pc:sldMkLst>
          <pc:docMk/>
          <pc:sldMk cId="821978084" sldId="214253502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68" v="81"/>
        <pc:sldMkLst>
          <pc:docMk/>
          <pc:sldMk cId="592520436" sldId="214253502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302" v="80"/>
        <pc:sldMkLst>
          <pc:docMk/>
          <pc:sldMk cId="1707732781" sldId="214253502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114" v="79"/>
        <pc:sldMkLst>
          <pc:docMk/>
          <pc:sldMk cId="3458113116" sldId="214253502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958" v="78"/>
        <pc:sldMkLst>
          <pc:docMk/>
          <pc:sldMk cId="1523884376" sldId="214253503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911" v="77"/>
        <pc:sldMkLst>
          <pc:docMk/>
          <pc:sldMk cId="2650702173" sldId="214253503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864" v="76"/>
        <pc:sldMkLst>
          <pc:docMk/>
          <pc:sldMk cId="3035983772" sldId="214253503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833" v="75"/>
        <pc:sldMkLst>
          <pc:docMk/>
          <pc:sldMk cId="2496826028" sldId="214253503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536" v="74"/>
        <pc:sldMkLst>
          <pc:docMk/>
          <pc:sldMk cId="1934562528" sldId="214253503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411" v="73"/>
        <pc:sldMkLst>
          <pc:docMk/>
          <pc:sldMk cId="1690104027" sldId="214253503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130" v="72"/>
        <pc:sldMkLst>
          <pc:docMk/>
          <pc:sldMk cId="1333696029" sldId="214253503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067" v="71"/>
        <pc:sldMkLst>
          <pc:docMk/>
          <pc:sldMk cId="3141986515" sldId="214253503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2.021" v="70"/>
        <pc:sldMkLst>
          <pc:docMk/>
          <pc:sldMk cId="523535993" sldId="214253503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989" v="69"/>
        <pc:sldMkLst>
          <pc:docMk/>
          <pc:sldMk cId="670758490" sldId="214253503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958" v="68"/>
        <pc:sldMkLst>
          <pc:docMk/>
          <pc:sldMk cId="2398601980" sldId="214253504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911" v="67"/>
        <pc:sldMkLst>
          <pc:docMk/>
          <pc:sldMk cId="127980347" sldId="214253504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61" v="111"/>
        <pc:sldMkLst>
          <pc:docMk/>
          <pc:sldMk cId="3427807940" sldId="214253504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61" v="110"/>
        <pc:sldMkLst>
          <pc:docMk/>
          <pc:sldMk cId="4018102242" sldId="214253504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61" v="108"/>
        <pc:sldMkLst>
          <pc:docMk/>
          <pc:sldMk cId="1789487551" sldId="214253504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14" v="94"/>
        <pc:sldMkLst>
          <pc:docMk/>
          <pc:sldMk cId="1037423912" sldId="214253504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661" v="64"/>
        <pc:sldMkLst>
          <pc:docMk/>
          <pc:sldMk cId="3745086382" sldId="214253504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45"/>
        <pc:sldMkLst>
          <pc:docMk/>
          <pc:sldMk cId="2772083242" sldId="214253504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583" v="84"/>
        <pc:sldMkLst>
          <pc:docMk/>
          <pc:sldMk cId="3451788964" sldId="214253504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3.661" v="109"/>
        <pc:sldMkLst>
          <pc:docMk/>
          <pc:sldMk cId="1669088413" sldId="214253505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27" v="27"/>
        <pc:sldMkLst>
          <pc:docMk/>
          <pc:sldMk cId="1980732724" sldId="214253505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74" v="41"/>
        <pc:sldMkLst>
          <pc:docMk/>
          <pc:sldMk cId="2946388907" sldId="214253505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083" v="2"/>
        <pc:sldMkLst>
          <pc:docMk/>
          <pc:sldMk cId="2200960103" sldId="214253505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27" v="23"/>
        <pc:sldMkLst>
          <pc:docMk/>
          <pc:sldMk cId="3563049840" sldId="214253505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11" v="22"/>
        <pc:sldMkLst>
          <pc:docMk/>
          <pc:sldMk cId="422256072" sldId="214253505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11" v="21"/>
        <pc:sldMkLst>
          <pc:docMk/>
          <pc:sldMk cId="4110465982" sldId="214253506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11" v="20"/>
        <pc:sldMkLst>
          <pc:docMk/>
          <pc:sldMk cId="3032578704" sldId="214253506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11" v="19"/>
        <pc:sldMkLst>
          <pc:docMk/>
          <pc:sldMk cId="3246239570" sldId="214253506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11" v="18"/>
        <pc:sldMkLst>
          <pc:docMk/>
          <pc:sldMk cId="3306584510" sldId="214253506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96" v="17"/>
        <pc:sldMkLst>
          <pc:docMk/>
          <pc:sldMk cId="2423317330" sldId="214253506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96" v="16"/>
        <pc:sldMkLst>
          <pc:docMk/>
          <pc:sldMk cId="3071336592" sldId="214253506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96" v="15"/>
        <pc:sldMkLst>
          <pc:docMk/>
          <pc:sldMk cId="2361654901" sldId="214253506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80" v="14"/>
        <pc:sldMkLst>
          <pc:docMk/>
          <pc:sldMk cId="3334699999" sldId="214253506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80" v="13"/>
        <pc:sldMkLst>
          <pc:docMk/>
          <pc:sldMk cId="3245174621" sldId="2142535068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12"/>
        <pc:sldMkLst>
          <pc:docMk/>
          <pc:sldMk cId="3208173380" sldId="2142535069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11"/>
        <pc:sldMkLst>
          <pc:docMk/>
          <pc:sldMk cId="365185097" sldId="2142535070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10"/>
        <pc:sldMkLst>
          <pc:docMk/>
          <pc:sldMk cId="2681605731" sldId="2142535071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9"/>
        <pc:sldMkLst>
          <pc:docMk/>
          <pc:sldMk cId="748445735" sldId="2142535072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42" v="30"/>
        <pc:sldMkLst>
          <pc:docMk/>
          <pc:sldMk cId="3585917111" sldId="2142535073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27" v="24"/>
        <pc:sldMkLst>
          <pc:docMk/>
          <pc:sldMk cId="516119178" sldId="2142535074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58" v="34"/>
        <pc:sldMkLst>
          <pc:docMk/>
          <pc:sldMk cId="2823257757" sldId="2142535075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42" v="28"/>
        <pc:sldMkLst>
          <pc:docMk/>
          <pc:sldMk cId="2717354898" sldId="2142535076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442" v="29"/>
        <pc:sldMkLst>
          <pc:docMk/>
          <pc:sldMk cId="3941507033" sldId="2142535077"/>
        </pc:sldMkLst>
      </pc:sldChg>
      <pc:sldChg chg="del">
        <pc:chgData name="Maria Piovano (ETF)" userId="S::maria.piovano@etf.europa.eu::9a84a9c9-ab87-4003-a6b2-bc43b03ddb08" providerId="AD" clId="Web-{340300D2-3F7E-6C12-E3B8-79137BB709E0}" dt="2026-02-17T15:49:21.364" v="7"/>
        <pc:sldMkLst>
          <pc:docMk/>
          <pc:sldMk cId="3708939113" sldId="2142535078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svg"/><Relationship Id="rId1" Type="http://schemas.openxmlformats.org/officeDocument/2006/relationships/image" Target="../media/image114.png"/><Relationship Id="rId6" Type="http://schemas.openxmlformats.org/officeDocument/2006/relationships/image" Target="../media/image119.svg"/><Relationship Id="rId5" Type="http://schemas.openxmlformats.org/officeDocument/2006/relationships/image" Target="../media/image118.png"/><Relationship Id="rId4" Type="http://schemas.openxmlformats.org/officeDocument/2006/relationships/image" Target="../media/image117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svg"/><Relationship Id="rId1" Type="http://schemas.openxmlformats.org/officeDocument/2006/relationships/image" Target="../media/image114.png"/><Relationship Id="rId6" Type="http://schemas.openxmlformats.org/officeDocument/2006/relationships/image" Target="../media/image119.svg"/><Relationship Id="rId5" Type="http://schemas.openxmlformats.org/officeDocument/2006/relationships/image" Target="../media/image118.png"/><Relationship Id="rId4" Type="http://schemas.openxmlformats.org/officeDocument/2006/relationships/image" Target="../media/image11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D1A8F8-976F-41A8-85A4-B1098471D363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66C7699-E87B-45C7-9DA5-0EB2469B8B78}">
      <dgm:prSet custT="1"/>
      <dgm:spPr/>
      <dgm:t>
        <a:bodyPr/>
        <a:lstStyle/>
        <a:p>
          <a:r>
            <a:rPr lang="ru-RU" sz="2200" b="1"/>
            <a:t>Высококачественное обучение</a:t>
          </a:r>
          <a:endParaRPr lang="en-US" sz="2200"/>
        </a:p>
      </dgm:t>
    </dgm:pt>
    <dgm:pt modelId="{6E91F3F1-C0D2-48B3-8AEB-00B58E081C25}" type="parTrans" cxnId="{0A251B96-5265-4905-ABBA-70B4F2D4AD0D}">
      <dgm:prSet/>
      <dgm:spPr/>
      <dgm:t>
        <a:bodyPr/>
        <a:lstStyle/>
        <a:p>
          <a:endParaRPr lang="en-US"/>
        </a:p>
      </dgm:t>
    </dgm:pt>
    <dgm:pt modelId="{99E5225D-F45A-40AB-B220-E919DDFDE4F0}" type="sibTrans" cxnId="{0A251B96-5265-4905-ABBA-70B4F2D4AD0D}">
      <dgm:prSet/>
      <dgm:spPr/>
      <dgm:t>
        <a:bodyPr/>
        <a:lstStyle/>
        <a:p>
          <a:endParaRPr lang="en-US"/>
        </a:p>
      </dgm:t>
    </dgm:pt>
    <dgm:pt modelId="{13E4B9AA-665A-40CB-AD3C-75F1C32AF084}">
      <dgm:prSet custT="1"/>
      <dgm:spPr/>
      <dgm:t>
        <a:bodyPr/>
        <a:lstStyle/>
        <a:p>
          <a:r>
            <a:rPr lang="ru-RU" sz="2200" b="1"/>
            <a:t>Ориентированное на обучающихся</a:t>
          </a:r>
          <a:endParaRPr lang="en-US" sz="2200"/>
        </a:p>
      </dgm:t>
    </dgm:pt>
    <dgm:pt modelId="{24206F7A-EA57-4AF1-B2B2-491FCDF95BDF}" type="parTrans" cxnId="{3D7A67A7-1BDA-4856-93DA-447BE4491991}">
      <dgm:prSet/>
      <dgm:spPr/>
      <dgm:t>
        <a:bodyPr/>
        <a:lstStyle/>
        <a:p>
          <a:endParaRPr lang="en-US"/>
        </a:p>
      </dgm:t>
    </dgm:pt>
    <dgm:pt modelId="{5562A930-67B4-4D92-8FB7-107E9605D6BB}" type="sibTrans" cxnId="{3D7A67A7-1BDA-4856-93DA-447BE4491991}">
      <dgm:prSet/>
      <dgm:spPr/>
      <dgm:t>
        <a:bodyPr/>
        <a:lstStyle/>
        <a:p>
          <a:endParaRPr lang="en-US"/>
        </a:p>
      </dgm:t>
    </dgm:pt>
    <dgm:pt modelId="{78BA3559-73B1-4BFA-B1E6-6DFDA826168F}">
      <dgm:prSet custT="1"/>
      <dgm:spPr/>
      <dgm:t>
        <a:bodyPr/>
        <a:lstStyle/>
        <a:p>
          <a:r>
            <a:rPr lang="ru-RU" sz="2200" b="1"/>
            <a:t>Актуальное </a:t>
          </a:r>
        </a:p>
        <a:p>
          <a:r>
            <a:rPr lang="ru-RU" sz="2200" b="1"/>
            <a:t>для мира труда</a:t>
          </a:r>
          <a:endParaRPr lang="en-US" sz="2200"/>
        </a:p>
      </dgm:t>
    </dgm:pt>
    <dgm:pt modelId="{98853C58-8C1A-4D1F-934C-99ACA091C8CD}" type="parTrans" cxnId="{19435501-F7E0-4C05-844B-D8363245FC99}">
      <dgm:prSet/>
      <dgm:spPr/>
      <dgm:t>
        <a:bodyPr/>
        <a:lstStyle/>
        <a:p>
          <a:endParaRPr lang="en-US"/>
        </a:p>
      </dgm:t>
    </dgm:pt>
    <dgm:pt modelId="{95E213D9-5A8A-4C57-9FF5-8D36262E8C31}" type="sibTrans" cxnId="{19435501-F7E0-4C05-844B-D8363245FC99}">
      <dgm:prSet/>
      <dgm:spPr/>
      <dgm:t>
        <a:bodyPr/>
        <a:lstStyle/>
        <a:p>
          <a:endParaRPr lang="en-US"/>
        </a:p>
      </dgm:t>
    </dgm:pt>
    <dgm:pt modelId="{1B0B7902-F571-4CAF-AD5E-BD5664978B45}" type="pres">
      <dgm:prSet presAssocID="{08D1A8F8-976F-41A8-85A4-B1098471D363}" presName="root" presStyleCnt="0">
        <dgm:presLayoutVars>
          <dgm:dir/>
          <dgm:resizeHandles val="exact"/>
        </dgm:presLayoutVars>
      </dgm:prSet>
      <dgm:spPr/>
    </dgm:pt>
    <dgm:pt modelId="{B4DB3D76-28EB-482F-959A-D8BB3C5DFC71}" type="pres">
      <dgm:prSet presAssocID="{E66C7699-E87B-45C7-9DA5-0EB2469B8B78}" presName="compNode" presStyleCnt="0"/>
      <dgm:spPr/>
    </dgm:pt>
    <dgm:pt modelId="{2A004639-716F-4159-8708-A99C25E6E8F3}" type="pres">
      <dgm:prSet presAssocID="{E66C7699-E87B-45C7-9DA5-0EB2469B8B78}" presName="iconRect" presStyleLbl="node1" presStyleIdx="0" presStyleCnt="3" custScaleX="173578" custScaleY="173578" custLinFactNeighborX="706" custLinFactNeighborY="-15552"/>
      <dgm:spPr>
        <a:prstGeom prst="roundRect">
          <a:avLst/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1466" t="-440" r="-8534" b="440"/>
          </a:stretch>
        </a:blipFill>
        <a:ln>
          <a:noFill/>
        </a:ln>
      </dgm:spPr>
    </dgm:pt>
    <dgm:pt modelId="{A0EAC182-25FA-440B-9D27-F72C357C07B1}" type="pres">
      <dgm:prSet presAssocID="{E66C7699-E87B-45C7-9DA5-0EB2469B8B78}" presName="spaceRect" presStyleCnt="0"/>
      <dgm:spPr/>
    </dgm:pt>
    <dgm:pt modelId="{4348B820-912D-441E-8944-45F7F3BBA263}" type="pres">
      <dgm:prSet presAssocID="{E66C7699-E87B-45C7-9DA5-0EB2469B8B78}" presName="textRect" presStyleLbl="revTx" presStyleIdx="0" presStyleCnt="3">
        <dgm:presLayoutVars>
          <dgm:chMax val="1"/>
          <dgm:chPref val="1"/>
        </dgm:presLayoutVars>
      </dgm:prSet>
      <dgm:spPr/>
    </dgm:pt>
    <dgm:pt modelId="{0C6992AF-DE3B-4DC5-A428-4DD63A0A6ADC}" type="pres">
      <dgm:prSet presAssocID="{99E5225D-F45A-40AB-B220-E919DDFDE4F0}" presName="sibTrans" presStyleCnt="0"/>
      <dgm:spPr/>
    </dgm:pt>
    <dgm:pt modelId="{C4C3D0C3-9686-4571-B0C1-349E1CB4747B}" type="pres">
      <dgm:prSet presAssocID="{13E4B9AA-665A-40CB-AD3C-75F1C32AF084}" presName="compNode" presStyleCnt="0"/>
      <dgm:spPr/>
    </dgm:pt>
    <dgm:pt modelId="{F7A65FAF-0E45-4043-BAD1-7DDAC2263309}" type="pres">
      <dgm:prSet presAssocID="{13E4B9AA-665A-40CB-AD3C-75F1C32AF084}" presName="iconRect" presStyleLbl="node1" presStyleIdx="1" presStyleCnt="3" custScaleX="173578" custScaleY="173578" custLinFactNeighborX="-37181" custLinFactNeighborY="-15552"/>
      <dgm:spPr>
        <a:prstGeom prst="roundRect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noFill/>
        </a:ln>
      </dgm:spPr>
    </dgm:pt>
    <dgm:pt modelId="{F5D8F1BE-168D-4C69-8CED-BC958FF5812F}" type="pres">
      <dgm:prSet presAssocID="{13E4B9AA-665A-40CB-AD3C-75F1C32AF084}" presName="spaceRect" presStyleCnt="0"/>
      <dgm:spPr/>
    </dgm:pt>
    <dgm:pt modelId="{CAFA12E1-EA06-4DEE-A875-E6F82D25D252}" type="pres">
      <dgm:prSet presAssocID="{13E4B9AA-665A-40CB-AD3C-75F1C32AF084}" presName="textRect" presStyleLbl="revTx" presStyleIdx="1" presStyleCnt="3" custLinFactNeighborX="-14457" custLinFactNeighborY="333">
        <dgm:presLayoutVars>
          <dgm:chMax val="1"/>
          <dgm:chPref val="1"/>
        </dgm:presLayoutVars>
      </dgm:prSet>
      <dgm:spPr/>
    </dgm:pt>
    <dgm:pt modelId="{550B2DBF-7BA3-451C-8BB2-3C7E6BE59F84}" type="pres">
      <dgm:prSet presAssocID="{5562A930-67B4-4D92-8FB7-107E9605D6BB}" presName="sibTrans" presStyleCnt="0"/>
      <dgm:spPr/>
    </dgm:pt>
    <dgm:pt modelId="{3C87D929-AC8F-469D-8C35-33D2DC2AE18B}" type="pres">
      <dgm:prSet presAssocID="{78BA3559-73B1-4BFA-B1E6-6DFDA826168F}" presName="compNode" presStyleCnt="0"/>
      <dgm:spPr/>
    </dgm:pt>
    <dgm:pt modelId="{D5CE3379-5647-4312-BD4A-665C12679E03}" type="pres">
      <dgm:prSet presAssocID="{78BA3559-73B1-4BFA-B1E6-6DFDA826168F}" presName="iconRect" presStyleLbl="node1" presStyleIdx="2" presStyleCnt="3" custScaleX="173578" custScaleY="173578" custLinFactNeighborX="-75730" custLinFactNeighborY="-15552"/>
      <dgm:spPr>
        <a:prstGeom prst="roundRect">
          <a:avLst/>
        </a:prstGeom>
        <a:blipFill rotWithShape="1">
          <a:blip xmlns:r="http://schemas.openxmlformats.org/officeDocument/2006/relationships" r:embed="rId3"/>
          <a:srcRect/>
          <a:stretch>
            <a:fillRect l="-25000" r="-25000"/>
          </a:stretch>
        </a:blipFill>
        <a:ln>
          <a:noFill/>
        </a:ln>
      </dgm:spPr>
    </dgm:pt>
    <dgm:pt modelId="{C1039EB3-8569-450F-8675-98104F86A1EE}" type="pres">
      <dgm:prSet presAssocID="{78BA3559-73B1-4BFA-B1E6-6DFDA826168F}" presName="spaceRect" presStyleCnt="0"/>
      <dgm:spPr/>
    </dgm:pt>
    <dgm:pt modelId="{27B463D8-CD80-44E5-9E4D-BAFB6E6D7C2F}" type="pres">
      <dgm:prSet presAssocID="{78BA3559-73B1-4BFA-B1E6-6DFDA826168F}" presName="textRect" presStyleLbl="revTx" presStyleIdx="2" presStyleCnt="3" custLinFactNeighborX="-33751">
        <dgm:presLayoutVars>
          <dgm:chMax val="1"/>
          <dgm:chPref val="1"/>
        </dgm:presLayoutVars>
      </dgm:prSet>
      <dgm:spPr/>
    </dgm:pt>
  </dgm:ptLst>
  <dgm:cxnLst>
    <dgm:cxn modelId="{19435501-F7E0-4C05-844B-D8363245FC99}" srcId="{08D1A8F8-976F-41A8-85A4-B1098471D363}" destId="{78BA3559-73B1-4BFA-B1E6-6DFDA826168F}" srcOrd="2" destOrd="0" parTransId="{98853C58-8C1A-4D1F-934C-99ACA091C8CD}" sibTransId="{95E213D9-5A8A-4C57-9FF5-8D36262E8C31}"/>
    <dgm:cxn modelId="{74F9072C-37D0-41D8-A3A9-6EBC9F6CA347}" type="presOf" srcId="{08D1A8F8-976F-41A8-85A4-B1098471D363}" destId="{1B0B7902-F571-4CAF-AD5E-BD5664978B45}" srcOrd="0" destOrd="0" presId="urn:microsoft.com/office/officeart/2018/2/layout/IconLabelList"/>
    <dgm:cxn modelId="{36C97A2E-7968-4561-A510-7744B0B32017}" type="presOf" srcId="{78BA3559-73B1-4BFA-B1E6-6DFDA826168F}" destId="{27B463D8-CD80-44E5-9E4D-BAFB6E6D7C2F}" srcOrd="0" destOrd="0" presId="urn:microsoft.com/office/officeart/2018/2/layout/IconLabelList"/>
    <dgm:cxn modelId="{905BC67D-59A8-4278-BEE2-16BEBE19BF53}" type="presOf" srcId="{E66C7699-E87B-45C7-9DA5-0EB2469B8B78}" destId="{4348B820-912D-441E-8944-45F7F3BBA263}" srcOrd="0" destOrd="0" presId="urn:microsoft.com/office/officeart/2018/2/layout/IconLabelList"/>
    <dgm:cxn modelId="{0A251B96-5265-4905-ABBA-70B4F2D4AD0D}" srcId="{08D1A8F8-976F-41A8-85A4-B1098471D363}" destId="{E66C7699-E87B-45C7-9DA5-0EB2469B8B78}" srcOrd="0" destOrd="0" parTransId="{6E91F3F1-C0D2-48B3-8AEB-00B58E081C25}" sibTransId="{99E5225D-F45A-40AB-B220-E919DDFDE4F0}"/>
    <dgm:cxn modelId="{23A1D9A3-4A35-4F92-8F4C-623886A3CD29}" type="presOf" srcId="{13E4B9AA-665A-40CB-AD3C-75F1C32AF084}" destId="{CAFA12E1-EA06-4DEE-A875-E6F82D25D252}" srcOrd="0" destOrd="0" presId="urn:microsoft.com/office/officeart/2018/2/layout/IconLabelList"/>
    <dgm:cxn modelId="{3D7A67A7-1BDA-4856-93DA-447BE4491991}" srcId="{08D1A8F8-976F-41A8-85A4-B1098471D363}" destId="{13E4B9AA-665A-40CB-AD3C-75F1C32AF084}" srcOrd="1" destOrd="0" parTransId="{24206F7A-EA57-4AF1-B2B2-491FCDF95BDF}" sibTransId="{5562A930-67B4-4D92-8FB7-107E9605D6BB}"/>
    <dgm:cxn modelId="{8CF591E3-B18C-4E9F-8CEF-8A6108C6A0CF}" type="presParOf" srcId="{1B0B7902-F571-4CAF-AD5E-BD5664978B45}" destId="{B4DB3D76-28EB-482F-959A-D8BB3C5DFC71}" srcOrd="0" destOrd="0" presId="urn:microsoft.com/office/officeart/2018/2/layout/IconLabelList"/>
    <dgm:cxn modelId="{355472EC-EF7C-4401-B8FC-7E92B6BFE6EF}" type="presParOf" srcId="{B4DB3D76-28EB-482F-959A-D8BB3C5DFC71}" destId="{2A004639-716F-4159-8708-A99C25E6E8F3}" srcOrd="0" destOrd="0" presId="urn:microsoft.com/office/officeart/2018/2/layout/IconLabelList"/>
    <dgm:cxn modelId="{0E156856-B162-4E5C-BC61-68FCD3213B7A}" type="presParOf" srcId="{B4DB3D76-28EB-482F-959A-D8BB3C5DFC71}" destId="{A0EAC182-25FA-440B-9D27-F72C357C07B1}" srcOrd="1" destOrd="0" presId="urn:microsoft.com/office/officeart/2018/2/layout/IconLabelList"/>
    <dgm:cxn modelId="{5D69565F-2780-4FBE-9AC8-C4E00A47281C}" type="presParOf" srcId="{B4DB3D76-28EB-482F-959A-D8BB3C5DFC71}" destId="{4348B820-912D-441E-8944-45F7F3BBA263}" srcOrd="2" destOrd="0" presId="urn:microsoft.com/office/officeart/2018/2/layout/IconLabelList"/>
    <dgm:cxn modelId="{84E7583C-2F25-43F9-9C19-37C4D8FA5B4E}" type="presParOf" srcId="{1B0B7902-F571-4CAF-AD5E-BD5664978B45}" destId="{0C6992AF-DE3B-4DC5-A428-4DD63A0A6ADC}" srcOrd="1" destOrd="0" presId="urn:microsoft.com/office/officeart/2018/2/layout/IconLabelList"/>
    <dgm:cxn modelId="{00CB0030-CCBF-4DDD-937F-B69A139DFD7C}" type="presParOf" srcId="{1B0B7902-F571-4CAF-AD5E-BD5664978B45}" destId="{C4C3D0C3-9686-4571-B0C1-349E1CB4747B}" srcOrd="2" destOrd="0" presId="urn:microsoft.com/office/officeart/2018/2/layout/IconLabelList"/>
    <dgm:cxn modelId="{BCC354D4-E151-4738-8B4E-761F2AD267DE}" type="presParOf" srcId="{C4C3D0C3-9686-4571-B0C1-349E1CB4747B}" destId="{F7A65FAF-0E45-4043-BAD1-7DDAC2263309}" srcOrd="0" destOrd="0" presId="urn:microsoft.com/office/officeart/2018/2/layout/IconLabelList"/>
    <dgm:cxn modelId="{FC2B4545-5FAF-45A7-8522-E2E53E078B9D}" type="presParOf" srcId="{C4C3D0C3-9686-4571-B0C1-349E1CB4747B}" destId="{F5D8F1BE-168D-4C69-8CED-BC958FF5812F}" srcOrd="1" destOrd="0" presId="urn:microsoft.com/office/officeart/2018/2/layout/IconLabelList"/>
    <dgm:cxn modelId="{0C895B64-8D5A-42A1-A7C3-8184C6500BF1}" type="presParOf" srcId="{C4C3D0C3-9686-4571-B0C1-349E1CB4747B}" destId="{CAFA12E1-EA06-4DEE-A875-E6F82D25D252}" srcOrd="2" destOrd="0" presId="urn:microsoft.com/office/officeart/2018/2/layout/IconLabelList"/>
    <dgm:cxn modelId="{3649E4E4-7EBD-49E2-AE38-6C9A7D9F379D}" type="presParOf" srcId="{1B0B7902-F571-4CAF-AD5E-BD5664978B45}" destId="{550B2DBF-7BA3-451C-8BB2-3C7E6BE59F84}" srcOrd="3" destOrd="0" presId="urn:microsoft.com/office/officeart/2018/2/layout/IconLabelList"/>
    <dgm:cxn modelId="{33DF2868-F0B8-4437-BE0F-31813D4A9A95}" type="presParOf" srcId="{1B0B7902-F571-4CAF-AD5E-BD5664978B45}" destId="{3C87D929-AC8F-469D-8C35-33D2DC2AE18B}" srcOrd="4" destOrd="0" presId="urn:microsoft.com/office/officeart/2018/2/layout/IconLabelList"/>
    <dgm:cxn modelId="{42A721C2-55FB-4A8E-AE59-9F6038B6F5B9}" type="presParOf" srcId="{3C87D929-AC8F-469D-8C35-33D2DC2AE18B}" destId="{D5CE3379-5647-4312-BD4A-665C12679E03}" srcOrd="0" destOrd="0" presId="urn:microsoft.com/office/officeart/2018/2/layout/IconLabelList"/>
    <dgm:cxn modelId="{A23E96DD-244E-4115-B933-8A38987F4717}" type="presParOf" srcId="{3C87D929-AC8F-469D-8C35-33D2DC2AE18B}" destId="{C1039EB3-8569-450F-8675-98104F86A1EE}" srcOrd="1" destOrd="0" presId="urn:microsoft.com/office/officeart/2018/2/layout/IconLabelList"/>
    <dgm:cxn modelId="{EA7AA20F-9EFE-41F9-BA65-34A02C14E2C9}" type="presParOf" srcId="{3C87D929-AC8F-469D-8C35-33D2DC2AE18B}" destId="{27B463D8-CD80-44E5-9E4D-BAFB6E6D7C2F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B41189-498D-4C18-A9BE-79657C9082EB}" type="doc">
      <dgm:prSet loTypeId="urn:microsoft.com/office/officeart/2005/8/layout/cycle8" loCatId="cycle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GB"/>
        </a:p>
      </dgm:t>
    </dgm:pt>
    <dgm:pt modelId="{41DA31DA-A4C9-4D57-8F26-9EF892B93076}">
      <dgm:prSet phldrT="[Text]" phldr="0" custT="1"/>
      <dgm:spPr/>
      <dgm:t>
        <a:bodyPr/>
        <a:lstStyle/>
        <a:p>
          <a:r>
            <a:rPr lang="ru-RU" sz="1400" b="1"/>
            <a:t>Мониторинг</a:t>
          </a:r>
          <a:endParaRPr lang="en-GB" sz="1400" b="1"/>
        </a:p>
      </dgm:t>
    </dgm:pt>
    <dgm:pt modelId="{651847A3-1BFD-4709-8D2B-D349FF451953}" type="parTrans" cxnId="{7D21D0FE-A947-4D78-A305-44FECE5DC403}">
      <dgm:prSet/>
      <dgm:spPr/>
      <dgm:t>
        <a:bodyPr/>
        <a:lstStyle/>
        <a:p>
          <a:endParaRPr lang="en-GB"/>
        </a:p>
      </dgm:t>
    </dgm:pt>
    <dgm:pt modelId="{CE842948-7F2B-4758-BA42-98A316170B60}" type="sibTrans" cxnId="{7D21D0FE-A947-4D78-A305-44FECE5DC403}">
      <dgm:prSet/>
      <dgm:spPr/>
      <dgm:t>
        <a:bodyPr/>
        <a:lstStyle/>
        <a:p>
          <a:endParaRPr lang="en-GB"/>
        </a:p>
      </dgm:t>
    </dgm:pt>
    <dgm:pt modelId="{F3A729AC-25DF-4750-8CB6-420A505DA751}">
      <dgm:prSet phldrT="[Text]" phldr="0" custT="1"/>
      <dgm:spPr/>
      <dgm:t>
        <a:bodyPr/>
        <a:lstStyle/>
        <a:p>
          <a:r>
            <a:rPr lang="ru-RU" sz="1600" b="1"/>
            <a:t>Улучшение</a:t>
          </a:r>
          <a:endParaRPr lang="en-GB" sz="1600" b="1"/>
        </a:p>
      </dgm:t>
    </dgm:pt>
    <dgm:pt modelId="{159ACEED-51B3-4E4D-87E7-EEC4B6AA3B49}" type="parTrans" cxnId="{1B8DD7E2-5AB1-4CB3-A625-CE667646495B}">
      <dgm:prSet/>
      <dgm:spPr/>
      <dgm:t>
        <a:bodyPr/>
        <a:lstStyle/>
        <a:p>
          <a:endParaRPr lang="en-GB"/>
        </a:p>
      </dgm:t>
    </dgm:pt>
    <dgm:pt modelId="{8F9B565B-E77A-4F48-9E6E-561AD163B0A0}" type="sibTrans" cxnId="{1B8DD7E2-5AB1-4CB3-A625-CE667646495B}">
      <dgm:prSet/>
      <dgm:spPr/>
      <dgm:t>
        <a:bodyPr/>
        <a:lstStyle/>
        <a:p>
          <a:endParaRPr lang="en-GB"/>
        </a:p>
      </dgm:t>
    </dgm:pt>
    <dgm:pt modelId="{3D8B1149-25C4-4F84-837D-CD478A438A3A}">
      <dgm:prSet phldrT="[Text]" phldr="0" custT="1"/>
      <dgm:spPr/>
      <dgm:t>
        <a:bodyPr/>
        <a:lstStyle/>
        <a:p>
          <a:r>
            <a:rPr lang="ru-RU" sz="1400" b="1"/>
            <a:t>Оценка</a:t>
          </a:r>
          <a:endParaRPr lang="en-GB" sz="1400" b="1"/>
        </a:p>
      </dgm:t>
    </dgm:pt>
    <dgm:pt modelId="{94692C4C-FEEA-4741-8B84-A1558FF31474}" type="parTrans" cxnId="{2B843C14-ED2C-497E-80BA-16FA3846A36B}">
      <dgm:prSet/>
      <dgm:spPr/>
      <dgm:t>
        <a:bodyPr/>
        <a:lstStyle/>
        <a:p>
          <a:endParaRPr lang="en-GB"/>
        </a:p>
      </dgm:t>
    </dgm:pt>
    <dgm:pt modelId="{44209CFB-B5F6-47E6-96CE-16A6247E7F7A}" type="sibTrans" cxnId="{2B843C14-ED2C-497E-80BA-16FA3846A36B}">
      <dgm:prSet/>
      <dgm:spPr/>
      <dgm:t>
        <a:bodyPr/>
        <a:lstStyle/>
        <a:p>
          <a:endParaRPr lang="en-GB"/>
        </a:p>
      </dgm:t>
    </dgm:pt>
    <dgm:pt modelId="{D82F5DDE-8E86-4B7D-95B1-F7C4A87E2845}" type="pres">
      <dgm:prSet presAssocID="{CEB41189-498D-4C18-A9BE-79657C9082EB}" presName="compositeShape" presStyleCnt="0">
        <dgm:presLayoutVars>
          <dgm:chMax val="7"/>
          <dgm:dir/>
          <dgm:resizeHandles val="exact"/>
        </dgm:presLayoutVars>
      </dgm:prSet>
      <dgm:spPr/>
    </dgm:pt>
    <dgm:pt modelId="{DD083D5E-3523-47EE-AE6D-B15049A7D593}" type="pres">
      <dgm:prSet presAssocID="{CEB41189-498D-4C18-A9BE-79657C9082EB}" presName="wedge1" presStyleLbl="node1" presStyleIdx="0" presStyleCnt="3" custScaleX="108195" custScaleY="100940" custLinFactNeighborX="-836" custLinFactNeighborY="-424"/>
      <dgm:spPr/>
    </dgm:pt>
    <dgm:pt modelId="{F9B721A5-C178-4DF4-B874-003EC7D7FAD8}" type="pres">
      <dgm:prSet presAssocID="{CEB41189-498D-4C18-A9BE-79657C9082EB}" presName="dummy1a" presStyleCnt="0"/>
      <dgm:spPr/>
    </dgm:pt>
    <dgm:pt modelId="{4DEB9A83-0278-4C2F-B815-6366BE44A566}" type="pres">
      <dgm:prSet presAssocID="{CEB41189-498D-4C18-A9BE-79657C9082EB}" presName="dummy1b" presStyleCnt="0"/>
      <dgm:spPr/>
    </dgm:pt>
    <dgm:pt modelId="{D1537D16-DA47-48B9-A82B-619786710F66}" type="pres">
      <dgm:prSet presAssocID="{CEB41189-498D-4C18-A9BE-79657C9082EB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2997545-678A-43D2-8458-2F285DF93DBD}" type="pres">
      <dgm:prSet presAssocID="{CEB41189-498D-4C18-A9BE-79657C9082EB}" presName="wedge2" presStyleLbl="node1" presStyleIdx="1" presStyleCnt="3"/>
      <dgm:spPr/>
    </dgm:pt>
    <dgm:pt modelId="{CC1B5AE0-70EF-4A5D-87ED-65ED8FF8973B}" type="pres">
      <dgm:prSet presAssocID="{CEB41189-498D-4C18-A9BE-79657C9082EB}" presName="dummy2a" presStyleCnt="0"/>
      <dgm:spPr/>
    </dgm:pt>
    <dgm:pt modelId="{36DC6294-95F1-4CB9-8E90-9AD4047622FB}" type="pres">
      <dgm:prSet presAssocID="{CEB41189-498D-4C18-A9BE-79657C9082EB}" presName="dummy2b" presStyleCnt="0"/>
      <dgm:spPr/>
    </dgm:pt>
    <dgm:pt modelId="{54BF879B-DD6A-4632-A1D8-8179C366F0FE}" type="pres">
      <dgm:prSet presAssocID="{CEB41189-498D-4C18-A9BE-79657C9082EB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19BB7ECB-63B0-48FF-9DDC-85AC32AFDB30}" type="pres">
      <dgm:prSet presAssocID="{CEB41189-498D-4C18-A9BE-79657C9082EB}" presName="wedge3" presStyleLbl="node1" presStyleIdx="2" presStyleCnt="3"/>
      <dgm:spPr/>
    </dgm:pt>
    <dgm:pt modelId="{E52380C4-2F2C-41C1-B56C-76614B5DEB99}" type="pres">
      <dgm:prSet presAssocID="{CEB41189-498D-4C18-A9BE-79657C9082EB}" presName="dummy3a" presStyleCnt="0"/>
      <dgm:spPr/>
    </dgm:pt>
    <dgm:pt modelId="{CE3EDBA7-77DB-45C9-AE66-B39669484104}" type="pres">
      <dgm:prSet presAssocID="{CEB41189-498D-4C18-A9BE-79657C9082EB}" presName="dummy3b" presStyleCnt="0"/>
      <dgm:spPr/>
    </dgm:pt>
    <dgm:pt modelId="{F49739A4-58A9-4D3F-B3AF-A4DA8554B1D4}" type="pres">
      <dgm:prSet presAssocID="{CEB41189-498D-4C18-A9BE-79657C9082EB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E4D32E6D-09C6-4E6B-9EDF-0FD62D216672}" type="pres">
      <dgm:prSet presAssocID="{CE842948-7F2B-4758-BA42-98A316170B60}" presName="arrowWedge1" presStyleLbl="fgSibTrans2D1" presStyleIdx="0" presStyleCnt="3"/>
      <dgm:spPr/>
    </dgm:pt>
    <dgm:pt modelId="{91A4F461-DFEE-4A25-98D4-586130A7712F}" type="pres">
      <dgm:prSet presAssocID="{8F9B565B-E77A-4F48-9E6E-561AD163B0A0}" presName="arrowWedge2" presStyleLbl="fgSibTrans2D1" presStyleIdx="1" presStyleCnt="3"/>
      <dgm:spPr/>
    </dgm:pt>
    <dgm:pt modelId="{73917E00-8CE3-4D5C-B06C-7AB62B705C22}" type="pres">
      <dgm:prSet presAssocID="{44209CFB-B5F6-47E6-96CE-16A6247E7F7A}" presName="arrowWedge3" presStyleLbl="fgSibTrans2D1" presStyleIdx="2" presStyleCnt="3"/>
      <dgm:spPr/>
    </dgm:pt>
  </dgm:ptLst>
  <dgm:cxnLst>
    <dgm:cxn modelId="{2B843C14-ED2C-497E-80BA-16FA3846A36B}" srcId="{CEB41189-498D-4C18-A9BE-79657C9082EB}" destId="{3D8B1149-25C4-4F84-837D-CD478A438A3A}" srcOrd="2" destOrd="0" parTransId="{94692C4C-FEEA-4741-8B84-A1558FF31474}" sibTransId="{44209CFB-B5F6-47E6-96CE-16A6247E7F7A}"/>
    <dgm:cxn modelId="{BC042B3B-EC11-4369-9461-553DDB572230}" type="presOf" srcId="{F3A729AC-25DF-4750-8CB6-420A505DA751}" destId="{54BF879B-DD6A-4632-A1D8-8179C366F0FE}" srcOrd="1" destOrd="0" presId="urn:microsoft.com/office/officeart/2005/8/layout/cycle8"/>
    <dgm:cxn modelId="{9BD8B43C-8DF6-42CF-ADD3-C91E013EC6C3}" type="presOf" srcId="{3D8B1149-25C4-4F84-837D-CD478A438A3A}" destId="{19BB7ECB-63B0-48FF-9DDC-85AC32AFDB30}" srcOrd="0" destOrd="0" presId="urn:microsoft.com/office/officeart/2005/8/layout/cycle8"/>
    <dgm:cxn modelId="{7F65AC81-B1D7-400B-AE9C-F45D4D5FC679}" type="presOf" srcId="{CEB41189-498D-4C18-A9BE-79657C9082EB}" destId="{D82F5DDE-8E86-4B7D-95B1-F7C4A87E2845}" srcOrd="0" destOrd="0" presId="urn:microsoft.com/office/officeart/2005/8/layout/cycle8"/>
    <dgm:cxn modelId="{98105B90-3B99-414A-AEBE-6C050BAEE138}" type="presOf" srcId="{41DA31DA-A4C9-4D57-8F26-9EF892B93076}" destId="{DD083D5E-3523-47EE-AE6D-B15049A7D593}" srcOrd="0" destOrd="0" presId="urn:microsoft.com/office/officeart/2005/8/layout/cycle8"/>
    <dgm:cxn modelId="{01BBB29E-259F-431D-BCEE-958F14DCC80E}" type="presOf" srcId="{41DA31DA-A4C9-4D57-8F26-9EF892B93076}" destId="{D1537D16-DA47-48B9-A82B-619786710F66}" srcOrd="1" destOrd="0" presId="urn:microsoft.com/office/officeart/2005/8/layout/cycle8"/>
    <dgm:cxn modelId="{006A1DAD-7B3D-4EE6-804D-E475F77447AF}" type="presOf" srcId="{F3A729AC-25DF-4750-8CB6-420A505DA751}" destId="{B2997545-678A-43D2-8458-2F285DF93DBD}" srcOrd="0" destOrd="0" presId="urn:microsoft.com/office/officeart/2005/8/layout/cycle8"/>
    <dgm:cxn modelId="{E46CF1B0-066F-44E2-A709-B62F5362B5AA}" type="presOf" srcId="{3D8B1149-25C4-4F84-837D-CD478A438A3A}" destId="{F49739A4-58A9-4D3F-B3AF-A4DA8554B1D4}" srcOrd="1" destOrd="0" presId="urn:microsoft.com/office/officeart/2005/8/layout/cycle8"/>
    <dgm:cxn modelId="{1B8DD7E2-5AB1-4CB3-A625-CE667646495B}" srcId="{CEB41189-498D-4C18-A9BE-79657C9082EB}" destId="{F3A729AC-25DF-4750-8CB6-420A505DA751}" srcOrd="1" destOrd="0" parTransId="{159ACEED-51B3-4E4D-87E7-EEC4B6AA3B49}" sibTransId="{8F9B565B-E77A-4F48-9E6E-561AD163B0A0}"/>
    <dgm:cxn modelId="{7D21D0FE-A947-4D78-A305-44FECE5DC403}" srcId="{CEB41189-498D-4C18-A9BE-79657C9082EB}" destId="{41DA31DA-A4C9-4D57-8F26-9EF892B93076}" srcOrd="0" destOrd="0" parTransId="{651847A3-1BFD-4709-8D2B-D349FF451953}" sibTransId="{CE842948-7F2B-4758-BA42-98A316170B60}"/>
    <dgm:cxn modelId="{07945E37-5178-4D46-B139-D9B1D455A0D5}" type="presParOf" srcId="{D82F5DDE-8E86-4B7D-95B1-F7C4A87E2845}" destId="{DD083D5E-3523-47EE-AE6D-B15049A7D593}" srcOrd="0" destOrd="0" presId="urn:microsoft.com/office/officeart/2005/8/layout/cycle8"/>
    <dgm:cxn modelId="{EF3FF7BF-FC97-43BB-B5D5-15FBAA0FE5CC}" type="presParOf" srcId="{D82F5DDE-8E86-4B7D-95B1-F7C4A87E2845}" destId="{F9B721A5-C178-4DF4-B874-003EC7D7FAD8}" srcOrd="1" destOrd="0" presId="urn:microsoft.com/office/officeart/2005/8/layout/cycle8"/>
    <dgm:cxn modelId="{B601073E-CF45-4141-8BA7-0FD10592E207}" type="presParOf" srcId="{D82F5DDE-8E86-4B7D-95B1-F7C4A87E2845}" destId="{4DEB9A83-0278-4C2F-B815-6366BE44A566}" srcOrd="2" destOrd="0" presId="urn:microsoft.com/office/officeart/2005/8/layout/cycle8"/>
    <dgm:cxn modelId="{2E072D2F-33F1-47C7-85DC-21D99875863D}" type="presParOf" srcId="{D82F5DDE-8E86-4B7D-95B1-F7C4A87E2845}" destId="{D1537D16-DA47-48B9-A82B-619786710F66}" srcOrd="3" destOrd="0" presId="urn:microsoft.com/office/officeart/2005/8/layout/cycle8"/>
    <dgm:cxn modelId="{8950BC5E-A8E9-4ABD-A396-9B4F6C9ECD72}" type="presParOf" srcId="{D82F5DDE-8E86-4B7D-95B1-F7C4A87E2845}" destId="{B2997545-678A-43D2-8458-2F285DF93DBD}" srcOrd="4" destOrd="0" presId="urn:microsoft.com/office/officeart/2005/8/layout/cycle8"/>
    <dgm:cxn modelId="{32036BB6-4D13-4C05-9D73-18834FE277BD}" type="presParOf" srcId="{D82F5DDE-8E86-4B7D-95B1-F7C4A87E2845}" destId="{CC1B5AE0-70EF-4A5D-87ED-65ED8FF8973B}" srcOrd="5" destOrd="0" presId="urn:microsoft.com/office/officeart/2005/8/layout/cycle8"/>
    <dgm:cxn modelId="{040B567D-1E43-4C58-9AE4-737E65F347E6}" type="presParOf" srcId="{D82F5DDE-8E86-4B7D-95B1-F7C4A87E2845}" destId="{36DC6294-95F1-4CB9-8E90-9AD4047622FB}" srcOrd="6" destOrd="0" presId="urn:microsoft.com/office/officeart/2005/8/layout/cycle8"/>
    <dgm:cxn modelId="{9F33FC21-A19E-4CD7-98E6-2F7F7DC2E4C7}" type="presParOf" srcId="{D82F5DDE-8E86-4B7D-95B1-F7C4A87E2845}" destId="{54BF879B-DD6A-4632-A1D8-8179C366F0FE}" srcOrd="7" destOrd="0" presId="urn:microsoft.com/office/officeart/2005/8/layout/cycle8"/>
    <dgm:cxn modelId="{4EF4F463-937E-45EB-9132-63BEE9D3EE22}" type="presParOf" srcId="{D82F5DDE-8E86-4B7D-95B1-F7C4A87E2845}" destId="{19BB7ECB-63B0-48FF-9DDC-85AC32AFDB30}" srcOrd="8" destOrd="0" presId="urn:microsoft.com/office/officeart/2005/8/layout/cycle8"/>
    <dgm:cxn modelId="{FA67A6CE-7517-4306-B909-3A642E51F667}" type="presParOf" srcId="{D82F5DDE-8E86-4B7D-95B1-F7C4A87E2845}" destId="{E52380C4-2F2C-41C1-B56C-76614B5DEB99}" srcOrd="9" destOrd="0" presId="urn:microsoft.com/office/officeart/2005/8/layout/cycle8"/>
    <dgm:cxn modelId="{12898035-BC4F-48B4-97FC-CD51730091A5}" type="presParOf" srcId="{D82F5DDE-8E86-4B7D-95B1-F7C4A87E2845}" destId="{CE3EDBA7-77DB-45C9-AE66-B39669484104}" srcOrd="10" destOrd="0" presId="urn:microsoft.com/office/officeart/2005/8/layout/cycle8"/>
    <dgm:cxn modelId="{2B7C1C83-F3EE-493F-A43B-5B4C1E918B77}" type="presParOf" srcId="{D82F5DDE-8E86-4B7D-95B1-F7C4A87E2845}" destId="{F49739A4-58A9-4D3F-B3AF-A4DA8554B1D4}" srcOrd="11" destOrd="0" presId="urn:microsoft.com/office/officeart/2005/8/layout/cycle8"/>
    <dgm:cxn modelId="{62990FF6-3F3D-4693-9295-2191CDAB3C2B}" type="presParOf" srcId="{D82F5DDE-8E86-4B7D-95B1-F7C4A87E2845}" destId="{E4D32E6D-09C6-4E6B-9EDF-0FD62D216672}" srcOrd="12" destOrd="0" presId="urn:microsoft.com/office/officeart/2005/8/layout/cycle8"/>
    <dgm:cxn modelId="{5AAB9218-E24B-4874-B9A1-0C0099155E20}" type="presParOf" srcId="{D82F5DDE-8E86-4B7D-95B1-F7C4A87E2845}" destId="{91A4F461-DFEE-4A25-98D4-586130A7712F}" srcOrd="13" destOrd="0" presId="urn:microsoft.com/office/officeart/2005/8/layout/cycle8"/>
    <dgm:cxn modelId="{859D711C-D50C-4101-8DDD-D1BC39B25611}" type="presParOf" srcId="{D82F5DDE-8E86-4B7D-95B1-F7C4A87E2845}" destId="{73917E00-8CE3-4D5C-B06C-7AB62B705C22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F6F6D69-1E18-48F6-9E05-F34075F32714}" type="doc">
      <dgm:prSet loTypeId="urn:microsoft.com/office/officeart/2018/2/layout/Icon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CCF2A5B-3DB2-424D-B899-3E37C8540018}">
      <dgm:prSet/>
      <dgm:spPr/>
      <dgm:t>
        <a:bodyPr/>
        <a:lstStyle/>
        <a:p>
          <a:r>
            <a:rPr lang="ru-RU" b="1"/>
            <a:t>Одно мероприятие по улучшению завершено</a:t>
          </a:r>
          <a:endParaRPr lang="en-US"/>
        </a:p>
      </dgm:t>
    </dgm:pt>
    <dgm:pt modelId="{70D5DA74-9CAF-4C4C-ADF1-4D2FACEB4A44}" type="parTrans" cxnId="{3D1090EB-5902-4B44-A52A-2DE0912BBF5E}">
      <dgm:prSet/>
      <dgm:spPr/>
      <dgm:t>
        <a:bodyPr/>
        <a:lstStyle/>
        <a:p>
          <a:endParaRPr lang="en-US"/>
        </a:p>
      </dgm:t>
    </dgm:pt>
    <dgm:pt modelId="{462B5CFB-3F97-488F-9D39-6C2E79BDD7FD}" type="sibTrans" cxnId="{3D1090EB-5902-4B44-A52A-2DE0912BBF5E}">
      <dgm:prSet/>
      <dgm:spPr/>
      <dgm:t>
        <a:bodyPr/>
        <a:lstStyle/>
        <a:p>
          <a:endParaRPr lang="en-US"/>
        </a:p>
      </dgm:t>
    </dgm:pt>
    <dgm:pt modelId="{33726955-6904-45B6-AFE7-36C6E5AAC13B}">
      <dgm:prSet/>
      <dgm:spPr/>
      <dgm:t>
        <a:bodyPr/>
        <a:lstStyle/>
        <a:p>
          <a:r>
            <a:rPr lang="ru-RU" b="1"/>
            <a:t>Одно мероприятие в процессе реализации и продвигается согласно плану</a:t>
          </a:r>
          <a:endParaRPr lang="en-US"/>
        </a:p>
      </dgm:t>
    </dgm:pt>
    <dgm:pt modelId="{F50F10DE-9A00-4D38-B5D5-64F193F8C58D}" type="parTrans" cxnId="{F606109E-67E4-4196-A240-7EBD44662775}">
      <dgm:prSet/>
      <dgm:spPr/>
      <dgm:t>
        <a:bodyPr/>
        <a:lstStyle/>
        <a:p>
          <a:endParaRPr lang="en-US"/>
        </a:p>
      </dgm:t>
    </dgm:pt>
    <dgm:pt modelId="{2C0D983B-2EFD-40C1-BED8-20CD5F40EB0C}" type="sibTrans" cxnId="{F606109E-67E4-4196-A240-7EBD44662775}">
      <dgm:prSet/>
      <dgm:spPr/>
      <dgm:t>
        <a:bodyPr/>
        <a:lstStyle/>
        <a:p>
          <a:endParaRPr lang="en-US"/>
        </a:p>
      </dgm:t>
    </dgm:pt>
    <dgm:pt modelId="{AFC04C59-0597-4431-A7E3-6E4F31E56221}">
      <dgm:prSet/>
      <dgm:spPr/>
      <dgm:t>
        <a:bodyPr/>
        <a:lstStyle/>
        <a:p>
          <a:r>
            <a:rPr lang="ru-RU" b="1"/>
            <a:t>Одно мероприятие в настоящее время </a:t>
          </a:r>
          <a:r>
            <a:rPr lang="ru-RU" b="0"/>
            <a:t>приостановлено в связи с изменениями в политическом контексте и сменой приоритетов</a:t>
          </a:r>
          <a:endParaRPr lang="en-US" b="0"/>
        </a:p>
      </dgm:t>
    </dgm:pt>
    <dgm:pt modelId="{12137571-F6AA-4488-A2D3-99F009B6EC2D}" type="parTrans" cxnId="{A0D8185B-8C42-41A1-8285-C82A1D6C2532}">
      <dgm:prSet/>
      <dgm:spPr/>
      <dgm:t>
        <a:bodyPr/>
        <a:lstStyle/>
        <a:p>
          <a:endParaRPr lang="en-US"/>
        </a:p>
      </dgm:t>
    </dgm:pt>
    <dgm:pt modelId="{D2971F33-2D7E-4F31-B603-E9644E4E461C}" type="sibTrans" cxnId="{A0D8185B-8C42-41A1-8285-C82A1D6C2532}">
      <dgm:prSet/>
      <dgm:spPr/>
      <dgm:t>
        <a:bodyPr/>
        <a:lstStyle/>
        <a:p>
          <a:endParaRPr lang="en-US"/>
        </a:p>
      </dgm:t>
    </dgm:pt>
    <dgm:pt modelId="{676C1787-8C28-4E74-B891-9FD0C8AF0558}" type="pres">
      <dgm:prSet presAssocID="{6F6F6D69-1E18-48F6-9E05-F34075F32714}" presName="root" presStyleCnt="0">
        <dgm:presLayoutVars>
          <dgm:dir/>
          <dgm:resizeHandles val="exact"/>
        </dgm:presLayoutVars>
      </dgm:prSet>
      <dgm:spPr/>
    </dgm:pt>
    <dgm:pt modelId="{DA45AD39-D473-45BD-8E7B-9F63141A0F5F}" type="pres">
      <dgm:prSet presAssocID="{1CCF2A5B-3DB2-424D-B899-3E37C8540018}" presName="compNode" presStyleCnt="0"/>
      <dgm:spPr/>
    </dgm:pt>
    <dgm:pt modelId="{11F3DB0E-BA87-4BAF-BA46-D5AB171C20E6}" type="pres">
      <dgm:prSet presAssocID="{1CCF2A5B-3DB2-424D-B899-3E37C8540018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che"/>
        </a:ext>
      </dgm:extLst>
    </dgm:pt>
    <dgm:pt modelId="{E866E446-75DB-43FD-82FC-F45AE8AE9A67}" type="pres">
      <dgm:prSet presAssocID="{1CCF2A5B-3DB2-424D-B899-3E37C8540018}" presName="spaceRect" presStyleCnt="0"/>
      <dgm:spPr/>
    </dgm:pt>
    <dgm:pt modelId="{64032290-1992-487F-B7FF-3FB6DEE3C0DB}" type="pres">
      <dgm:prSet presAssocID="{1CCF2A5B-3DB2-424D-B899-3E37C8540018}" presName="textRect" presStyleLbl="revTx" presStyleIdx="0" presStyleCnt="3">
        <dgm:presLayoutVars>
          <dgm:chMax val="1"/>
          <dgm:chPref val="1"/>
        </dgm:presLayoutVars>
      </dgm:prSet>
      <dgm:spPr/>
    </dgm:pt>
    <dgm:pt modelId="{F73144C2-20C2-4E97-808B-CA87D294CDB7}" type="pres">
      <dgm:prSet presAssocID="{462B5CFB-3F97-488F-9D39-6C2E79BDD7FD}" presName="sibTrans" presStyleCnt="0"/>
      <dgm:spPr/>
    </dgm:pt>
    <dgm:pt modelId="{BBADE47F-C6B7-4B3C-9972-3CF072780FF2}" type="pres">
      <dgm:prSet presAssocID="{33726955-6904-45B6-AFE7-36C6E5AAC13B}" presName="compNode" presStyleCnt="0"/>
      <dgm:spPr/>
    </dgm:pt>
    <dgm:pt modelId="{4DB3EB0D-EE60-464D-B9AC-7000B0043FC3}" type="pres">
      <dgm:prSet presAssocID="{33726955-6904-45B6-AFE7-36C6E5AAC13B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humbs Up Sign"/>
        </a:ext>
      </dgm:extLst>
    </dgm:pt>
    <dgm:pt modelId="{E44F505F-E7F8-483E-AFA8-2578933E3DC5}" type="pres">
      <dgm:prSet presAssocID="{33726955-6904-45B6-AFE7-36C6E5AAC13B}" presName="spaceRect" presStyleCnt="0"/>
      <dgm:spPr/>
    </dgm:pt>
    <dgm:pt modelId="{6510B132-1BA4-4E9C-8088-5CD3459E263D}" type="pres">
      <dgm:prSet presAssocID="{33726955-6904-45B6-AFE7-36C6E5AAC13B}" presName="textRect" presStyleLbl="revTx" presStyleIdx="1" presStyleCnt="3">
        <dgm:presLayoutVars>
          <dgm:chMax val="1"/>
          <dgm:chPref val="1"/>
        </dgm:presLayoutVars>
      </dgm:prSet>
      <dgm:spPr/>
    </dgm:pt>
    <dgm:pt modelId="{98605E8E-3FA3-4DAE-B8FC-7563EB3F1AF0}" type="pres">
      <dgm:prSet presAssocID="{2C0D983B-2EFD-40C1-BED8-20CD5F40EB0C}" presName="sibTrans" presStyleCnt="0"/>
      <dgm:spPr/>
    </dgm:pt>
    <dgm:pt modelId="{3CA369DA-6E25-42A0-8702-6933358B3420}" type="pres">
      <dgm:prSet presAssocID="{AFC04C59-0597-4431-A7E3-6E4F31E56221}" presName="compNode" presStyleCnt="0"/>
      <dgm:spPr/>
    </dgm:pt>
    <dgm:pt modelId="{C1B570C8-96C4-4CB1-84F2-E18D0B86F8FD}" type="pres">
      <dgm:prSet presAssocID="{AFC04C59-0597-4431-A7E3-6E4F31E5622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que"/>
        </a:ext>
      </dgm:extLst>
    </dgm:pt>
    <dgm:pt modelId="{602CE09B-9707-4F98-9B2D-B9D57EEF5E2A}" type="pres">
      <dgm:prSet presAssocID="{AFC04C59-0597-4431-A7E3-6E4F31E56221}" presName="spaceRect" presStyleCnt="0"/>
      <dgm:spPr/>
    </dgm:pt>
    <dgm:pt modelId="{9285D93A-9B41-49D6-8987-A1CC2AC60AE9}" type="pres">
      <dgm:prSet presAssocID="{AFC04C59-0597-4431-A7E3-6E4F31E56221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13E2F91A-8A8E-461A-A239-624DCDA821AD}" type="presOf" srcId="{1CCF2A5B-3DB2-424D-B899-3E37C8540018}" destId="{64032290-1992-487F-B7FF-3FB6DEE3C0DB}" srcOrd="0" destOrd="0" presId="urn:microsoft.com/office/officeart/2018/2/layout/IconLabelList"/>
    <dgm:cxn modelId="{A0D8185B-8C42-41A1-8285-C82A1D6C2532}" srcId="{6F6F6D69-1E18-48F6-9E05-F34075F32714}" destId="{AFC04C59-0597-4431-A7E3-6E4F31E56221}" srcOrd="2" destOrd="0" parTransId="{12137571-F6AA-4488-A2D3-99F009B6EC2D}" sibTransId="{D2971F33-2D7E-4F31-B603-E9644E4E461C}"/>
    <dgm:cxn modelId="{F606109E-67E4-4196-A240-7EBD44662775}" srcId="{6F6F6D69-1E18-48F6-9E05-F34075F32714}" destId="{33726955-6904-45B6-AFE7-36C6E5AAC13B}" srcOrd="1" destOrd="0" parTransId="{F50F10DE-9A00-4D38-B5D5-64F193F8C58D}" sibTransId="{2C0D983B-2EFD-40C1-BED8-20CD5F40EB0C}"/>
    <dgm:cxn modelId="{853FBEBE-1064-4E43-B020-B35790782E1D}" type="presOf" srcId="{33726955-6904-45B6-AFE7-36C6E5AAC13B}" destId="{6510B132-1BA4-4E9C-8088-5CD3459E263D}" srcOrd="0" destOrd="0" presId="urn:microsoft.com/office/officeart/2018/2/layout/IconLabelList"/>
    <dgm:cxn modelId="{A6804AE5-5588-4A7A-9890-C163EA6F152F}" type="presOf" srcId="{6F6F6D69-1E18-48F6-9E05-F34075F32714}" destId="{676C1787-8C28-4E74-B891-9FD0C8AF0558}" srcOrd="0" destOrd="0" presId="urn:microsoft.com/office/officeart/2018/2/layout/IconLabelList"/>
    <dgm:cxn modelId="{3D1090EB-5902-4B44-A52A-2DE0912BBF5E}" srcId="{6F6F6D69-1E18-48F6-9E05-F34075F32714}" destId="{1CCF2A5B-3DB2-424D-B899-3E37C8540018}" srcOrd="0" destOrd="0" parTransId="{70D5DA74-9CAF-4C4C-ADF1-4D2FACEB4A44}" sibTransId="{462B5CFB-3F97-488F-9D39-6C2E79BDD7FD}"/>
    <dgm:cxn modelId="{3D7621F4-F3A8-4C9D-865C-57329F08492F}" type="presOf" srcId="{AFC04C59-0597-4431-A7E3-6E4F31E56221}" destId="{9285D93A-9B41-49D6-8987-A1CC2AC60AE9}" srcOrd="0" destOrd="0" presId="urn:microsoft.com/office/officeart/2018/2/layout/IconLabelList"/>
    <dgm:cxn modelId="{62C96EF8-2078-4124-94C9-CB7816E2FD83}" type="presParOf" srcId="{676C1787-8C28-4E74-B891-9FD0C8AF0558}" destId="{DA45AD39-D473-45BD-8E7B-9F63141A0F5F}" srcOrd="0" destOrd="0" presId="urn:microsoft.com/office/officeart/2018/2/layout/IconLabelList"/>
    <dgm:cxn modelId="{C1A50D64-4239-482D-9E42-1EE672360BE0}" type="presParOf" srcId="{DA45AD39-D473-45BD-8E7B-9F63141A0F5F}" destId="{11F3DB0E-BA87-4BAF-BA46-D5AB171C20E6}" srcOrd="0" destOrd="0" presId="urn:microsoft.com/office/officeart/2018/2/layout/IconLabelList"/>
    <dgm:cxn modelId="{EBCE754A-0A7A-47A7-847F-08E338E75282}" type="presParOf" srcId="{DA45AD39-D473-45BD-8E7B-9F63141A0F5F}" destId="{E866E446-75DB-43FD-82FC-F45AE8AE9A67}" srcOrd="1" destOrd="0" presId="urn:microsoft.com/office/officeart/2018/2/layout/IconLabelList"/>
    <dgm:cxn modelId="{CB2AF230-56CF-4702-9F00-E9905ABC94C0}" type="presParOf" srcId="{DA45AD39-D473-45BD-8E7B-9F63141A0F5F}" destId="{64032290-1992-487F-B7FF-3FB6DEE3C0DB}" srcOrd="2" destOrd="0" presId="urn:microsoft.com/office/officeart/2018/2/layout/IconLabelList"/>
    <dgm:cxn modelId="{52C02B7F-EEFD-4599-97BA-DB412C1B5AF3}" type="presParOf" srcId="{676C1787-8C28-4E74-B891-9FD0C8AF0558}" destId="{F73144C2-20C2-4E97-808B-CA87D294CDB7}" srcOrd="1" destOrd="0" presId="urn:microsoft.com/office/officeart/2018/2/layout/IconLabelList"/>
    <dgm:cxn modelId="{61671A87-4E84-4F4B-BB3B-32F6A4983898}" type="presParOf" srcId="{676C1787-8C28-4E74-B891-9FD0C8AF0558}" destId="{BBADE47F-C6B7-4B3C-9972-3CF072780FF2}" srcOrd="2" destOrd="0" presId="urn:microsoft.com/office/officeart/2018/2/layout/IconLabelList"/>
    <dgm:cxn modelId="{0F4EC775-9A72-472F-9EFC-1EFBF2189128}" type="presParOf" srcId="{BBADE47F-C6B7-4B3C-9972-3CF072780FF2}" destId="{4DB3EB0D-EE60-464D-B9AC-7000B0043FC3}" srcOrd="0" destOrd="0" presId="urn:microsoft.com/office/officeart/2018/2/layout/IconLabelList"/>
    <dgm:cxn modelId="{41DF71CB-2BB3-4951-82AC-F2C702131F53}" type="presParOf" srcId="{BBADE47F-C6B7-4B3C-9972-3CF072780FF2}" destId="{E44F505F-E7F8-483E-AFA8-2578933E3DC5}" srcOrd="1" destOrd="0" presId="urn:microsoft.com/office/officeart/2018/2/layout/IconLabelList"/>
    <dgm:cxn modelId="{62C788D4-3EFB-42B8-8443-F09678F31DAB}" type="presParOf" srcId="{BBADE47F-C6B7-4B3C-9972-3CF072780FF2}" destId="{6510B132-1BA4-4E9C-8088-5CD3459E263D}" srcOrd="2" destOrd="0" presId="urn:microsoft.com/office/officeart/2018/2/layout/IconLabelList"/>
    <dgm:cxn modelId="{3E287F03-C25D-4095-95ED-26325F46BA0F}" type="presParOf" srcId="{676C1787-8C28-4E74-B891-9FD0C8AF0558}" destId="{98605E8E-3FA3-4DAE-B8FC-7563EB3F1AF0}" srcOrd="3" destOrd="0" presId="urn:microsoft.com/office/officeart/2018/2/layout/IconLabelList"/>
    <dgm:cxn modelId="{DC4F3A1D-5F5E-45E8-9FF3-AA37AB6DC2E3}" type="presParOf" srcId="{676C1787-8C28-4E74-B891-9FD0C8AF0558}" destId="{3CA369DA-6E25-42A0-8702-6933358B3420}" srcOrd="4" destOrd="0" presId="urn:microsoft.com/office/officeart/2018/2/layout/IconLabelList"/>
    <dgm:cxn modelId="{C0E6F591-B52C-4158-8D33-C3EE6DB12BED}" type="presParOf" srcId="{3CA369DA-6E25-42A0-8702-6933358B3420}" destId="{C1B570C8-96C4-4CB1-84F2-E18D0B86F8FD}" srcOrd="0" destOrd="0" presId="urn:microsoft.com/office/officeart/2018/2/layout/IconLabelList"/>
    <dgm:cxn modelId="{F79CD3FC-2111-4D5C-81B9-DED45F589C28}" type="presParOf" srcId="{3CA369DA-6E25-42A0-8702-6933358B3420}" destId="{602CE09B-9707-4F98-9B2D-B9D57EEF5E2A}" srcOrd="1" destOrd="0" presId="urn:microsoft.com/office/officeart/2018/2/layout/IconLabelList"/>
    <dgm:cxn modelId="{4928DFFE-F9B1-417C-91EE-D074DB011DE2}" type="presParOf" srcId="{3CA369DA-6E25-42A0-8702-6933358B3420}" destId="{9285D93A-9B41-49D6-8987-A1CC2AC60AE9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04639-716F-4159-8708-A99C25E6E8F3}">
      <dsp:nvSpPr>
        <dsp:cNvPr id="0" name=""/>
        <dsp:cNvSpPr/>
      </dsp:nvSpPr>
      <dsp:spPr>
        <a:xfrm>
          <a:off x="423348" y="325919"/>
          <a:ext cx="2520006" cy="2520006"/>
        </a:xfrm>
        <a:prstGeom prst="roundRect">
          <a:avLst/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1466" t="-440" r="-8534" b="44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48B820-912D-441E-8944-45F7F3BBA263}">
      <dsp:nvSpPr>
        <dsp:cNvPr id="0" name=""/>
        <dsp:cNvSpPr/>
      </dsp:nvSpPr>
      <dsp:spPr>
        <a:xfrm>
          <a:off x="59990" y="2921101"/>
          <a:ext cx="3226223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/>
            <a:t>Высококачественное обучение</a:t>
          </a:r>
          <a:endParaRPr lang="en-US" sz="2200" kern="1200"/>
        </a:p>
      </dsp:txBody>
      <dsp:txXfrm>
        <a:off x="59990" y="2921101"/>
        <a:ext cx="3226223" cy="720000"/>
      </dsp:txXfrm>
    </dsp:sp>
    <dsp:sp modelId="{F7A65FAF-0E45-4043-BAD1-7DDAC2263309}">
      <dsp:nvSpPr>
        <dsp:cNvPr id="0" name=""/>
        <dsp:cNvSpPr/>
      </dsp:nvSpPr>
      <dsp:spPr>
        <a:xfrm>
          <a:off x="3664117" y="325919"/>
          <a:ext cx="2520006" cy="2520006"/>
        </a:xfrm>
        <a:prstGeom prst="roundRect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FA12E1-EA06-4DEE-A875-E6F82D25D252}">
      <dsp:nvSpPr>
        <dsp:cNvPr id="0" name=""/>
        <dsp:cNvSpPr/>
      </dsp:nvSpPr>
      <dsp:spPr>
        <a:xfrm>
          <a:off x="3384387" y="2923498"/>
          <a:ext cx="3226223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/>
            <a:t>Ориентированное на обучающихся</a:t>
          </a:r>
          <a:endParaRPr lang="en-US" sz="2200" kern="1200"/>
        </a:p>
      </dsp:txBody>
      <dsp:txXfrm>
        <a:off x="3384387" y="2923498"/>
        <a:ext cx="3226223" cy="720000"/>
      </dsp:txXfrm>
    </dsp:sp>
    <dsp:sp modelId="{D5CE3379-5647-4312-BD4A-665C12679E03}">
      <dsp:nvSpPr>
        <dsp:cNvPr id="0" name=""/>
        <dsp:cNvSpPr/>
      </dsp:nvSpPr>
      <dsp:spPr>
        <a:xfrm>
          <a:off x="6895275" y="325919"/>
          <a:ext cx="2520006" cy="2520006"/>
        </a:xfrm>
        <a:prstGeom prst="roundRect">
          <a:avLst/>
        </a:prstGeom>
        <a:blipFill rotWithShape="1">
          <a:blip xmlns:r="http://schemas.openxmlformats.org/officeDocument/2006/relationships" r:embed="rId3"/>
          <a:srcRect/>
          <a:stretch>
            <a:fillRect l="-25000" r="-25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B463D8-CD80-44E5-9E4D-BAFB6E6D7C2F}">
      <dsp:nvSpPr>
        <dsp:cNvPr id="0" name=""/>
        <dsp:cNvSpPr/>
      </dsp:nvSpPr>
      <dsp:spPr>
        <a:xfrm>
          <a:off x="6552732" y="2921101"/>
          <a:ext cx="3226223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/>
            <a:t>Актуальное 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/>
            <a:t>для мира труда</a:t>
          </a:r>
          <a:endParaRPr lang="en-US" sz="2200" kern="1200"/>
        </a:p>
      </dsp:txBody>
      <dsp:txXfrm>
        <a:off x="6552732" y="2921101"/>
        <a:ext cx="3226223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083D5E-3523-47EE-AE6D-B15049A7D593}">
      <dsp:nvSpPr>
        <dsp:cNvPr id="0" name=""/>
        <dsp:cNvSpPr/>
      </dsp:nvSpPr>
      <dsp:spPr>
        <a:xfrm>
          <a:off x="688705" y="205530"/>
          <a:ext cx="3141274" cy="2930636"/>
        </a:xfrm>
        <a:prstGeom prst="pie">
          <a:avLst>
            <a:gd name="adj1" fmla="val 16200000"/>
            <a:gd name="adj2" fmla="val 18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/>
            <a:t>Мониторинг</a:t>
          </a:r>
          <a:endParaRPr lang="en-GB" sz="1400" b="1" kern="1200"/>
        </a:p>
      </dsp:txBody>
      <dsp:txXfrm>
        <a:off x="2344231" y="826546"/>
        <a:ext cx="1121883" cy="872213"/>
      </dsp:txXfrm>
    </dsp:sp>
    <dsp:sp modelId="{B2997545-678A-43D2-8458-2F285DF93DBD}">
      <dsp:nvSpPr>
        <dsp:cNvPr id="0" name=""/>
        <dsp:cNvSpPr/>
      </dsp:nvSpPr>
      <dsp:spPr>
        <a:xfrm>
          <a:off x="772146" y="335177"/>
          <a:ext cx="2903344" cy="2903344"/>
        </a:xfrm>
        <a:prstGeom prst="pie">
          <a:avLst>
            <a:gd name="adj1" fmla="val 1800000"/>
            <a:gd name="adj2" fmla="val 9000000"/>
          </a:avLst>
        </a:prstGeom>
        <a:gradFill rotWithShape="0">
          <a:gsLst>
            <a:gs pos="0">
              <a:schemeClr val="accent2">
                <a:hueOff val="-3374608"/>
                <a:satOff val="23531"/>
                <a:lumOff val="-26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3374608"/>
                <a:satOff val="23531"/>
                <a:lumOff val="-26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3374608"/>
                <a:satOff val="23531"/>
                <a:lumOff val="-26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/>
            <a:t>Улучшение</a:t>
          </a:r>
          <a:endParaRPr lang="en-GB" sz="1600" b="1" kern="1200"/>
        </a:p>
      </dsp:txBody>
      <dsp:txXfrm>
        <a:off x="1463419" y="2218895"/>
        <a:ext cx="1555363" cy="760399"/>
      </dsp:txXfrm>
    </dsp:sp>
    <dsp:sp modelId="{19BB7ECB-63B0-48FF-9DDC-85AC32AFDB30}">
      <dsp:nvSpPr>
        <dsp:cNvPr id="0" name=""/>
        <dsp:cNvSpPr/>
      </dsp:nvSpPr>
      <dsp:spPr>
        <a:xfrm>
          <a:off x="712351" y="231486"/>
          <a:ext cx="2903344" cy="2903344"/>
        </a:xfrm>
        <a:prstGeom prst="pie">
          <a:avLst>
            <a:gd name="adj1" fmla="val 9000000"/>
            <a:gd name="adj2" fmla="val 16200000"/>
          </a:avLst>
        </a:prstGeom>
        <a:gradFill rotWithShape="0">
          <a:gsLst>
            <a:gs pos="0">
              <a:schemeClr val="accent2">
                <a:hueOff val="-6749216"/>
                <a:satOff val="47061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6749216"/>
                <a:satOff val="47061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6749216"/>
                <a:satOff val="47061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/>
            <a:t>Оценка</a:t>
          </a:r>
          <a:endParaRPr lang="en-GB" sz="1400" b="1" kern="1200"/>
        </a:p>
      </dsp:txBody>
      <dsp:txXfrm>
        <a:off x="1048655" y="846719"/>
        <a:ext cx="1036908" cy="864090"/>
      </dsp:txXfrm>
    </dsp:sp>
    <dsp:sp modelId="{E4D32E6D-09C6-4E6B-9EDF-0FD62D216672}">
      <dsp:nvSpPr>
        <dsp:cNvPr id="0" name=""/>
        <dsp:cNvSpPr/>
      </dsp:nvSpPr>
      <dsp:spPr>
        <a:xfrm>
          <a:off x="626582" y="39274"/>
          <a:ext cx="3262806" cy="326280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1A4F461-DFEE-4A25-98D4-586130A7712F}">
      <dsp:nvSpPr>
        <dsp:cNvPr id="0" name=""/>
        <dsp:cNvSpPr/>
      </dsp:nvSpPr>
      <dsp:spPr>
        <a:xfrm>
          <a:off x="592415" y="155262"/>
          <a:ext cx="3262806" cy="326280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gradFill rotWithShape="0">
          <a:gsLst>
            <a:gs pos="0">
              <a:schemeClr val="accent2">
                <a:hueOff val="-3374608"/>
                <a:satOff val="23531"/>
                <a:lumOff val="-26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3374608"/>
                <a:satOff val="23531"/>
                <a:lumOff val="-26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3374608"/>
                <a:satOff val="23531"/>
                <a:lumOff val="-26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3917E00-8CE3-4D5C-B06C-7AB62B705C22}">
      <dsp:nvSpPr>
        <dsp:cNvPr id="0" name=""/>
        <dsp:cNvSpPr/>
      </dsp:nvSpPr>
      <dsp:spPr>
        <a:xfrm>
          <a:off x="532381" y="51755"/>
          <a:ext cx="3262806" cy="326280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gradFill rotWithShape="0">
          <a:gsLst>
            <a:gs pos="0">
              <a:schemeClr val="accent2">
                <a:hueOff val="-6749216"/>
                <a:satOff val="47061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6749216"/>
                <a:satOff val="47061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6749216"/>
                <a:satOff val="47061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F3DB0E-BA87-4BAF-BA46-D5AB171C20E6}">
      <dsp:nvSpPr>
        <dsp:cNvPr id="0" name=""/>
        <dsp:cNvSpPr/>
      </dsp:nvSpPr>
      <dsp:spPr>
        <a:xfrm>
          <a:off x="1212569" y="987197"/>
          <a:ext cx="1300252" cy="130025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032290-1992-487F-B7FF-3FB6DEE3C0DB}">
      <dsp:nvSpPr>
        <dsp:cNvPr id="0" name=""/>
        <dsp:cNvSpPr/>
      </dsp:nvSpPr>
      <dsp:spPr>
        <a:xfrm>
          <a:off x="417971" y="2644140"/>
          <a:ext cx="28894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/>
            <a:t>Одно мероприятие по улучшению завершено</a:t>
          </a:r>
          <a:endParaRPr lang="en-US" sz="1300" kern="1200"/>
        </a:p>
      </dsp:txBody>
      <dsp:txXfrm>
        <a:off x="417971" y="2644140"/>
        <a:ext cx="2889450" cy="720000"/>
      </dsp:txXfrm>
    </dsp:sp>
    <dsp:sp modelId="{4DB3EB0D-EE60-464D-B9AC-7000B0043FC3}">
      <dsp:nvSpPr>
        <dsp:cNvPr id="0" name=""/>
        <dsp:cNvSpPr/>
      </dsp:nvSpPr>
      <dsp:spPr>
        <a:xfrm>
          <a:off x="4607673" y="987197"/>
          <a:ext cx="1300252" cy="130025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10B132-1BA4-4E9C-8088-5CD3459E263D}">
      <dsp:nvSpPr>
        <dsp:cNvPr id="0" name=""/>
        <dsp:cNvSpPr/>
      </dsp:nvSpPr>
      <dsp:spPr>
        <a:xfrm>
          <a:off x="3813075" y="2644140"/>
          <a:ext cx="28894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/>
            <a:t>Одно мероприятие в процессе реализации и продвигается согласно плану</a:t>
          </a:r>
          <a:endParaRPr lang="en-US" sz="1300" kern="1200"/>
        </a:p>
      </dsp:txBody>
      <dsp:txXfrm>
        <a:off x="3813075" y="2644140"/>
        <a:ext cx="2889450" cy="720000"/>
      </dsp:txXfrm>
    </dsp:sp>
    <dsp:sp modelId="{C1B570C8-96C4-4CB1-84F2-E18D0B86F8FD}">
      <dsp:nvSpPr>
        <dsp:cNvPr id="0" name=""/>
        <dsp:cNvSpPr/>
      </dsp:nvSpPr>
      <dsp:spPr>
        <a:xfrm>
          <a:off x="8002777" y="987197"/>
          <a:ext cx="1300252" cy="130025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5D93A-9B41-49D6-8987-A1CC2AC60AE9}">
      <dsp:nvSpPr>
        <dsp:cNvPr id="0" name=""/>
        <dsp:cNvSpPr/>
      </dsp:nvSpPr>
      <dsp:spPr>
        <a:xfrm>
          <a:off x="7208178" y="2644140"/>
          <a:ext cx="28894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/>
            <a:t>Одно мероприятие в настоящее время </a:t>
          </a:r>
          <a:r>
            <a:rPr lang="ru-RU" sz="1300" b="0" kern="1200"/>
            <a:t>приостановлено в связи с изменениями в политическом контексте и сменой приоритетов</a:t>
          </a:r>
          <a:endParaRPr lang="en-US" sz="1300" b="0" kern="1200"/>
        </a:p>
      </dsp:txBody>
      <dsp:txXfrm>
        <a:off x="7208178" y="2644140"/>
        <a:ext cx="288945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4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ED67-B882-41D2-9A57-F15DE8301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EDA96D-76D1-4D52-9166-A83ED455DC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F8A27C-F1B0-41BE-A5CB-55208EC34DA5}" type="datetimeFigureOut">
              <a:rPr lang="en-US" smtClean="0">
                <a:latin typeface="Arial" panose="020B0604020202020204" pitchFamily="34" charset="0"/>
              </a:rPr>
              <a:t>2/17/2026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D9EF36-7E1E-4FF0-A307-30DCF2E4AB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E8CD0-EC3E-4E33-8E68-0983AD89E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02231-D4CD-44C5-97BE-9A7953C23CD1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112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AC5A11-1A99-4BC5-A093-F2C49C523275}" type="datetimeFigureOut">
              <a:rPr lang="en-US" smtClean="0"/>
              <a:pPr/>
              <a:t>2/1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CE47D56-1D0B-476D-B731-90CE402AB5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7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7142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CC8D3-7AAE-E114-04C8-11F7641EB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8D7A6A-2567-2120-C8BF-957E9A222F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99122C-D33E-70F1-7245-802DB97AB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CCE0C2-CD6C-B90B-7EFB-FA2C892030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3629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57EC8-48EA-0BF5-1FBB-45B2D613C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1E526C-8CA6-90E6-1973-8C198E2F65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159849-C721-3245-E0B5-F6CC5BCC95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C124E8-7A03-D46D-440D-BFF7179106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7894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1B53B-A37C-9EE4-71E3-3F0F608C5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BA44E6-EACF-4EA2-E410-5D605151ED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C447F9-9B83-E496-B3EE-CB5DE2DAB3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38F26A-AB5E-A47D-F005-181D7E4BFB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6568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Replace screenshot with the screenshot in correct language once upload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4801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970E88-487E-A4F8-7A8A-EB9F701000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032BF2-9275-F7DA-B2B4-A6E00BC42F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F99A8A-B92D-6FB8-BC63-4FE4284FB3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F014F3-2B86-96DE-E41F-7F10598CFB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1128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5FAE31-8065-A3C7-3487-CEF728BED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771315-8E49-AB71-E173-C83957D11B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B6E4E6-1B7E-9B46-E16D-76EEBB06D9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AFB20-75CE-59B6-C7E1-35A9424CA8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7673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193EE-992D-B5F5-A67D-ABA5CE8F2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8EBD97-91FF-17D3-E7E9-36CDC01753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51AA-5FEC-D0A7-A550-D08B24770A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5E6886-DBE9-F444-9710-5E327A7B99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7036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803BF1-8CA8-0D31-02C6-9D241CFDF4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3AE11-E8B4-D60D-6EC0-088F88150B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A2A91-4246-AE26-0E83-3E3427390C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E426C6-C6F6-8613-E1C5-B3BE2C5A78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776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4FC03E-166B-8720-F3D8-78F51E4F60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8D2D32-33E0-BBB6-BE22-E36C2BD6A2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3F219-D7F1-03EA-2BD6-56AF8E997F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4938AA-A884-1DB7-3969-34158F2033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445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F2DC5-CEFF-3C94-D91D-A9932D54A2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258539-5391-174B-C2EA-A2518F6F47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2D5A6-DBD5-78EB-09D5-DB0FE20EA6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8EED5-7D8B-B3DA-AE49-6C2AB6BD29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957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23FE8A-88BE-82A5-757D-A6CB32F2BE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C5216E-6F1B-5E76-F452-EBA634F444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B43168-B006-1305-C974-B1C375160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7A2A7B-15D1-1E39-8D35-0BEF914913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1276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817BF-7D8D-CBB0-522F-760A090702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CF2C9F-8774-27D2-EBD1-AAFFB5A1E3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CB2CED-8985-5535-7FDE-1DEE2DB505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D506F5-F23C-7B4A-2317-7E72BA2AEC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6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FB6962-FB13-E283-58FD-DB0FCE49D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F87074-6146-B845-30BC-71522C9E67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AC6E93-4993-E72B-739A-70FED29781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91DE6-4FD3-1832-4B6D-80F950794E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774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99157-F0DB-3981-3DDA-41525E7010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2D6429-245F-F47E-EB31-1AFAEB9465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6B66D4-A53A-C33D-E8E3-DC056F422B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8348D-7546-E264-0BF5-1498F261C1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4636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A7EF5-3F93-1656-38E8-C9C80D2FE6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5F4990-91AE-F4ED-3413-36B5ED7CE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600A55-3AA7-56E6-2977-0EDCA071F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33158-C92E-0AB4-9CF3-347FB1E6E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09795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F31076-036E-A653-6DD1-EF9C4658E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E08C69-2E7E-F12F-0734-047722FBED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CBEB8F-3074-205B-541A-5B6D10CB06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20D543-1848-B095-7B2F-AD5E7F608B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7340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B0096-C328-7DD8-B6F4-5C05505E8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DDA123-D0AB-0680-2279-59F7E88350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C146BD-C3CF-AA2B-C97A-CB7A6675FA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D2737-6C95-78DC-3081-9BE925C37E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283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926552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56983593" name="Espace réservé des not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r>
              <a:rPr lang="ru-RU" sz="1200" b="0" i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брое утро, уважаемые коллеги, и добро пожаловать. Мы очень рады приветствовать вас сегодня у нас.</a:t>
            </a:r>
            <a:endParaRPr lang="fr-BE" sz="1200" b="0" i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fr-BE"/>
            </a:br>
            <a:br>
              <a:rPr lang="fr-FR"/>
            </a:br>
            <a:br>
              <a:rPr lang="fr-FR"/>
            </a:br>
            <a:r>
              <a:rPr lang="ru-RU"/>
              <a:t>Переориентация профессионального профиля.</a:t>
            </a:r>
            <a:br>
              <a:rPr lang="ru-RU"/>
            </a:br>
            <a:r>
              <a:rPr lang="ru-RU"/>
              <a:t>Сопровождение в рамках ориентационного (вводного) курса.</a:t>
            </a:r>
            <a:br>
              <a:rPr lang="ru-RU"/>
            </a:br>
            <a:r>
              <a:rPr lang="ru-RU"/>
              <a:t>Формирование профессиональной позиции, ориентированной на бизнес-среду.</a:t>
            </a:r>
            <a:br>
              <a:rPr lang="ru-RU"/>
            </a:br>
            <a:r>
              <a:rPr lang="ru-RU"/>
              <a:t>Вовлеченность компаний.</a:t>
            </a:r>
            <a:br>
              <a:rPr lang="ru-RU"/>
            </a:br>
            <a:r>
              <a:rPr lang="ru-RU"/>
              <a:t>Завершение подготовки в </a:t>
            </a:r>
            <a:r>
              <a:rPr lang="ru-RU" err="1"/>
              <a:t>PlayZone</a:t>
            </a:r>
            <a:r>
              <a:rPr lang="ru-RU"/>
              <a:t> по запросу компаний — бейджи — CECAF.</a:t>
            </a:r>
          </a:p>
          <a:p>
            <a:r>
              <a:rPr lang="ru-RU"/>
              <a:t>Показатели.</a:t>
            </a:r>
            <a:endParaRPr lang="fr-FR"/>
          </a:p>
        </p:txBody>
      </p:sp>
      <p:sp>
        <p:nvSpPr>
          <p:cNvPr id="9127094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ADEF42-0F5C-C345-B505-3EB89B2FB79A}" type="slidenum"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6C6B8-975F-8EB6-0F68-40810CE8F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DE8ABE38-CB53-4533-CAB5-52B7A34D82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E5BF2E0-E4F5-2E8E-61FD-A066F6E0F3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https://</a:t>
            </a:r>
            <a:r>
              <a:rPr lang="fr-FR" err="1"/>
              <a:t>chatgpt.com</a:t>
            </a:r>
            <a:r>
              <a:rPr lang="fr-FR"/>
              <a:t>/c/939f4f76-d83a-458e-a9c4-6a4c29f88c11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67DBD1A-7E02-7D5A-1E53-9E56C0C5F6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DD926-2B42-E047-8F47-1DDB0A6F03A8}" type="slidenum"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43443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779977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43237797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845011686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D62B99-9521-CE9E-A3BC-E64798C099F7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4129425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3255078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9909479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2D14E-8E8F-FB60-A0D7-B0E79018E544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414B7-5C0A-2EFD-A440-F504049CDA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BB1D3E-5B2E-6025-9DEF-055E3434AA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CAD045-91AB-1551-9350-EA2BEA700D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9BB572-8209-195E-BA35-081D8BB44F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1375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665414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3951340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algn="l" defTabSz="914400" rtl="0">
              <a:defRPr/>
            </a:pPr>
            <a:endParaRPr/>
          </a:p>
        </p:txBody>
      </p:sp>
      <p:sp>
        <p:nvSpPr>
          <p:cNvPr id="57276550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A71AD-4B0B-2D23-51E7-0DEFB053949E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FB0017-CEF8-C21A-62C2-E9005C572396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6654140" name="Slide Image Placeholder 1">
            <a:extLst>
              <a:ext uri="{FF2B5EF4-FFF2-40B4-BE49-F238E27FC236}">
                <a16:creationId xmlns:a16="http://schemas.microsoft.com/office/drawing/2014/main" id="{35D39A95-3ECD-D84A-C721-D06E83E5CD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39513403" name="Notes Placeholder 2">
            <a:extLst>
              <a:ext uri="{FF2B5EF4-FFF2-40B4-BE49-F238E27FC236}">
                <a16:creationId xmlns:a16="http://schemas.microsoft.com/office/drawing/2014/main" id="{74DB2FD5-DACB-4859-F753-6387B4B870C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algn="l" defTabSz="914400" rtl="0">
              <a:defRPr/>
            </a:pPr>
            <a:endParaRPr/>
          </a:p>
        </p:txBody>
      </p:sp>
      <p:sp>
        <p:nvSpPr>
          <p:cNvPr id="572765503" name="Slide Number Placeholder 3">
            <a:extLst>
              <a:ext uri="{FF2B5EF4-FFF2-40B4-BE49-F238E27FC236}">
                <a16:creationId xmlns:a16="http://schemas.microsoft.com/office/drawing/2014/main" id="{CE1DDDA5-9584-B9F4-F7F7-F19C388DCB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A71AD-4B0B-2D23-51E7-0DEFB053949E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8210802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2A73A3-DAD9-C13E-11F1-E6DED004E41B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6654140" name="Slide Image Placeholder 1">
            <a:extLst>
              <a:ext uri="{FF2B5EF4-FFF2-40B4-BE49-F238E27FC236}">
                <a16:creationId xmlns:a16="http://schemas.microsoft.com/office/drawing/2014/main" id="{AD5C00CE-1C56-50F1-0129-F5F55E4A86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39513403" name="Notes Placeholder 2">
            <a:extLst>
              <a:ext uri="{FF2B5EF4-FFF2-40B4-BE49-F238E27FC236}">
                <a16:creationId xmlns:a16="http://schemas.microsoft.com/office/drawing/2014/main" id="{230D9D3B-D34D-0089-1DE5-313E7B0FC62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algn="l" defTabSz="914400" rtl="0">
              <a:defRPr/>
            </a:pPr>
            <a:endParaRPr/>
          </a:p>
        </p:txBody>
      </p:sp>
      <p:sp>
        <p:nvSpPr>
          <p:cNvPr id="572765503" name="Slide Number Placeholder 3">
            <a:extLst>
              <a:ext uri="{FF2B5EF4-FFF2-40B4-BE49-F238E27FC236}">
                <a16:creationId xmlns:a16="http://schemas.microsoft.com/office/drawing/2014/main" id="{8AC8B00E-C96A-89A8-205D-20C8481983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A71AD-4B0B-2D23-51E7-0DEFB053949E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174162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6BB946-9FAB-D7EF-A3DA-010CC3D34579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6654140" name="Slide Image Placeholder 1">
            <a:extLst>
              <a:ext uri="{FF2B5EF4-FFF2-40B4-BE49-F238E27FC236}">
                <a16:creationId xmlns:a16="http://schemas.microsoft.com/office/drawing/2014/main" id="{9CAADEA6-E441-5EBA-1131-BC0F739875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39513403" name="Notes Placeholder 2">
            <a:extLst>
              <a:ext uri="{FF2B5EF4-FFF2-40B4-BE49-F238E27FC236}">
                <a16:creationId xmlns:a16="http://schemas.microsoft.com/office/drawing/2014/main" id="{04AFA6D9-F796-D85D-F67D-9E07B4DE073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algn="l" defTabSz="914400" rtl="0">
              <a:defRPr/>
            </a:pPr>
            <a:endParaRPr/>
          </a:p>
        </p:txBody>
      </p:sp>
      <p:sp>
        <p:nvSpPr>
          <p:cNvPr id="572765503" name="Slide Number Placeholder 3">
            <a:extLst>
              <a:ext uri="{FF2B5EF4-FFF2-40B4-BE49-F238E27FC236}">
                <a16:creationId xmlns:a16="http://schemas.microsoft.com/office/drawing/2014/main" id="{5C9F49E6-36BF-4083-CE50-296BF8BF65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A71AD-4B0B-2D23-51E7-0DEFB053949E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205921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ADEF42-0F5C-C345-B505-3EB89B2FB79A}" type="slidenum"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462081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68149496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5658562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algn="l" defTabSz="914400" rtl="0">
              <a:defRPr/>
            </a:pPr>
            <a:r>
              <a:rPr lang="ru-RU"/>
              <a:t>Центры компетенций — это пространства обучения и инноваций. Мы помогаем работникам, соискателям работы, обучающимся, преподавателям и руководителям предприятий приобретать навыки, необходимые сегодня и в будущем.</a:t>
            </a:r>
            <a:endParaRPr/>
          </a:p>
        </p:txBody>
      </p:sp>
      <p:sp>
        <p:nvSpPr>
          <p:cNvPr id="110903804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E576A-4C2B-3C1E-5C3F-2A8A7C652975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5228956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79883507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algn="l" defTabSz="914400" rtl="0">
              <a:defRPr/>
            </a:pPr>
            <a:r>
              <a:rPr lang="ru-RU"/>
              <a:t>На протяжении лет наша деятельность неоднократно получала признание. В 2001 году — знак качества Центра компетенций от Правительства </a:t>
            </a:r>
            <a:r>
              <a:rPr lang="ru-RU" err="1"/>
              <a:t>Валлонии</a:t>
            </a:r>
            <a:r>
              <a:rPr lang="ru-RU"/>
              <a:t>. В 2019 году — награда VET </a:t>
            </a:r>
            <a:r>
              <a:rPr lang="ru-RU" err="1"/>
              <a:t>Excellence</a:t>
            </a:r>
            <a:r>
              <a:rPr lang="ru-RU"/>
              <a:t> </a:t>
            </a:r>
            <a:r>
              <a:rPr lang="ru-RU" err="1"/>
              <a:t>Award</a:t>
            </a:r>
            <a:r>
              <a:rPr lang="ru-RU"/>
              <a:t> в рамках Европейской недели навыков за подход «</a:t>
            </a:r>
            <a:r>
              <a:rPr lang="ru-RU" i="1" err="1"/>
              <a:t>Be</a:t>
            </a:r>
            <a:r>
              <a:rPr lang="ru-RU" i="1"/>
              <a:t> a </a:t>
            </a:r>
            <a:r>
              <a:rPr lang="ru-RU" i="1" err="1"/>
              <a:t>Maker</a:t>
            </a:r>
            <a:r>
              <a:rPr lang="ru-RU"/>
              <a:t>». В 2025 году — сертификация «</a:t>
            </a:r>
            <a:r>
              <a:rPr lang="ru-RU" i="1" err="1"/>
              <a:t>Committed</a:t>
            </a:r>
            <a:r>
              <a:rPr lang="ru-RU" i="1"/>
              <a:t> </a:t>
            </a:r>
            <a:r>
              <a:rPr lang="ru-RU" i="1" err="1"/>
              <a:t>to</a:t>
            </a:r>
            <a:r>
              <a:rPr lang="ru-RU" i="1"/>
              <a:t> </a:t>
            </a:r>
            <a:r>
              <a:rPr lang="ru-RU" i="1" err="1"/>
              <a:t>Vocational</a:t>
            </a:r>
            <a:r>
              <a:rPr lang="ru-RU" i="1"/>
              <a:t> </a:t>
            </a:r>
            <a:r>
              <a:rPr lang="ru-RU" i="1" err="1"/>
              <a:t>Excellence</a:t>
            </a:r>
            <a:r>
              <a:rPr lang="ru-RU"/>
              <a:t>». Некоторые из вас, безусловно, знакомы с данной сертификацией.</a:t>
            </a:r>
            <a:endParaRPr/>
          </a:p>
        </p:txBody>
      </p:sp>
      <p:sp>
        <p:nvSpPr>
          <p:cNvPr id="162808342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2DBBC-646C-25AB-A26C-271E19DACD01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A839D-C102-EF25-2590-B24274A4F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194199-FEE7-5B34-2A1F-D62EC59C0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BE292D-FBB2-3AD8-06BE-987630A5BF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5DEF59-3A92-B0B1-DCDE-596B35C6E6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2602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77E9A-0567-9FEA-FEEB-243DB5C0B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CA5204-566C-053B-BD75-5D020EAEAA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745FE6-B585-8FF2-1FA0-591623D151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1CB716-FA03-97B5-B268-1C0E4A01FC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61894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274557-5460-8C4C-1330-E9289DC44B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FEC075-2C8B-63F1-BA9E-BE43562F28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237224-6C7D-FE0E-1753-236D1246CE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E0836-A48B-7528-E7D0-CABDD6C976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475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E65E15-7C58-2061-FF95-6FA06A61D0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6A4ACD-5C08-7873-DBE1-265DB8F790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10A889-4C60-5B9A-A153-BDFD594195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1C4E7-4FA1-513A-D833-741E78326F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83925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CA45F1-4AEA-C7D0-DBFC-365CC9EE1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58674C-565A-B5C7-3918-8D244A0749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A6F188-9074-EAEB-A7F0-7830C5AB78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53A15E-B917-931E-5829-264B46F19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9439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BD518-2B79-D8B2-97D0-52D0E6635B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5FD7EF-F6E2-6757-ED2F-0F9988B495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5C1FBD-1A82-3F1B-B0C8-1B61B9B353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8DF98A-91F0-9483-9AAB-E07833B023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2237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DD5778-6468-7DE9-5E2C-51C28FDAD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B411B5-C362-9953-DBF7-873828EB27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3D8EE4-8143-5FEE-37D5-30629C6B41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E08793-7E58-F3DA-886D-0FE195316E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884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7B766-E3A6-5F9B-D826-B3EF1CE5D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0DC2B9-FB6A-BC16-4166-20642EC853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F1D799-337C-5420-2A80-8086CFAC51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5E4E3-8F00-DE77-5C55-840799F5F2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9543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DBEB92-3277-6DDA-60B9-0A58EF9B7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C637DD-E606-DB08-B42C-D631097075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A1665C-420A-BB2B-1C42-9BA0757549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07D1F5-338B-D724-6EF2-84DF24166F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1829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95953F-FBC7-7A65-38DE-1A6C1E864E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301246-2362-CD55-AC8B-0D339C0114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456250-1AB8-0D27-D0F2-DC662C0239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D005F4-F725-3624-6D9F-817BEF8F18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160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FB798B-C0DB-30EB-38B2-47CF103A1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62919D-79FD-9AE0-DDBC-CCDFD3F46B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5F5407-5C1B-31F0-0FC8-A17195F2DE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0546F6-8297-7388-F5AB-3BABB54D4F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663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978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04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893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13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947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4630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329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031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7959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71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3470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2533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16638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970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387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698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959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FEAA0D65-B41D-04C4-56F7-20C1EF0ADF4C}"/>
              </a:ext>
            </a:extLst>
          </p:cNvPr>
          <p:cNvSpPr/>
          <p:nvPr userDrawn="1"/>
        </p:nvSpPr>
        <p:spPr>
          <a:xfrm>
            <a:off x="0" y="-8812"/>
            <a:ext cx="1535656" cy="2213675"/>
          </a:xfrm>
          <a:custGeom>
            <a:avLst/>
            <a:gdLst>
              <a:gd name="connsiteX0" fmla="*/ 607467 w 1472820"/>
              <a:gd name="connsiteY0" fmla="*/ 0 h 2123096"/>
              <a:gd name="connsiteX1" fmla="*/ 674998 w 1472820"/>
              <a:gd name="connsiteY1" fmla="*/ 606672 h 2123096"/>
              <a:gd name="connsiteX2" fmla="*/ 1010564 w 1472820"/>
              <a:gd name="connsiteY2" fmla="*/ 969533 h 2123096"/>
              <a:gd name="connsiteX3" fmla="*/ 1472820 w 1472820"/>
              <a:gd name="connsiteY3" fmla="*/ 1061548 h 2123096"/>
              <a:gd name="connsiteX4" fmla="*/ 1010564 w 1472820"/>
              <a:gd name="connsiteY4" fmla="*/ 1153563 h 2123096"/>
              <a:gd name="connsiteX5" fmla="*/ 674998 w 1472820"/>
              <a:gd name="connsiteY5" fmla="*/ 1516423 h 2123096"/>
              <a:gd name="connsiteX6" fmla="*/ 607467 w 1472820"/>
              <a:gd name="connsiteY6" fmla="*/ 2123096 h 2123096"/>
              <a:gd name="connsiteX7" fmla="*/ 539936 w 1472820"/>
              <a:gd name="connsiteY7" fmla="*/ 1516423 h 2123096"/>
              <a:gd name="connsiteX8" fmla="*/ 204370 w 1472820"/>
              <a:gd name="connsiteY8" fmla="*/ 1153563 h 2123096"/>
              <a:gd name="connsiteX9" fmla="*/ 0 w 1472820"/>
              <a:gd name="connsiteY9" fmla="*/ 1112882 h 2123096"/>
              <a:gd name="connsiteX10" fmla="*/ 0 w 1472820"/>
              <a:gd name="connsiteY10" fmla="*/ 1010214 h 2123096"/>
              <a:gd name="connsiteX11" fmla="*/ 204370 w 1472820"/>
              <a:gd name="connsiteY11" fmla="*/ 969533 h 2123096"/>
              <a:gd name="connsiteX12" fmla="*/ 539936 w 1472820"/>
              <a:gd name="connsiteY12" fmla="*/ 606672 h 212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72820" h="2123096">
                <a:moveTo>
                  <a:pt x="607467" y="0"/>
                </a:moveTo>
                <a:lnTo>
                  <a:pt x="674998" y="606672"/>
                </a:lnTo>
                <a:cubicBezTo>
                  <a:pt x="695413" y="787064"/>
                  <a:pt x="831004" y="934184"/>
                  <a:pt x="1010564" y="969533"/>
                </a:cubicBezTo>
                <a:lnTo>
                  <a:pt x="1472820" y="1061548"/>
                </a:lnTo>
                <a:lnTo>
                  <a:pt x="1010564" y="1153563"/>
                </a:lnTo>
                <a:cubicBezTo>
                  <a:pt x="831004" y="1188912"/>
                  <a:pt x="695413" y="1336032"/>
                  <a:pt x="674998" y="1516423"/>
                </a:cubicBezTo>
                <a:lnTo>
                  <a:pt x="607467" y="2123096"/>
                </a:lnTo>
                <a:lnTo>
                  <a:pt x="539936" y="1516423"/>
                </a:lnTo>
                <a:cubicBezTo>
                  <a:pt x="519516" y="1336032"/>
                  <a:pt x="383930" y="1188912"/>
                  <a:pt x="204370" y="1153563"/>
                </a:cubicBezTo>
                <a:lnTo>
                  <a:pt x="0" y="1112882"/>
                </a:lnTo>
                <a:lnTo>
                  <a:pt x="0" y="1010214"/>
                </a:lnTo>
                <a:lnTo>
                  <a:pt x="204370" y="969533"/>
                </a:lnTo>
                <a:cubicBezTo>
                  <a:pt x="383930" y="934184"/>
                  <a:pt x="519516" y="787064"/>
                  <a:pt x="539936" y="606672"/>
                </a:cubicBezTo>
                <a:close/>
              </a:path>
            </a:pathLst>
          </a:custGeom>
          <a:solidFill>
            <a:srgbClr val="FFDD00">
              <a:alpha val="70152"/>
            </a:srgbClr>
          </a:solidFill>
          <a:ln w="110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052736"/>
            <a:ext cx="10944225" cy="1080120"/>
          </a:xfrm>
        </p:spPr>
        <p:txBody>
          <a:bodyPr anchor="t"/>
          <a:lstStyle>
            <a:lvl1pPr>
              <a:lnSpc>
                <a:spcPct val="90000"/>
              </a:lnSpc>
              <a:defRPr sz="3000" cap="all" baseline="0">
                <a:solidFill>
                  <a:srgbClr val="00519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32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FBAE40"/>
          </p15:clr>
        </p15:guide>
        <p15:guide id="3" orient="horz" pos="3612">
          <p15:clr>
            <a:srgbClr val="FBAE40"/>
          </p15:clr>
        </p15:guide>
        <p15:guide id="4" orient="horz" pos="102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Diapositive de 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26751053" name="Image 7" descr="An image containing Graphic, Screenshot, Colored Character, Design&#10;&#10;Auto-generated description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-4820294" y="-2478732"/>
            <a:ext cx="13202294" cy="13202294"/>
          </a:xfrm>
          <a:prstGeom prst="rect">
            <a:avLst/>
          </a:prstGeom>
        </p:spPr>
      </p:pic>
      <p:sp>
        <p:nvSpPr>
          <p:cNvPr id="1870509271" name="Titre 1"/>
          <p:cNvSpPr>
            <a:spLocks noGrp="1"/>
          </p:cNvSpPr>
          <p:nvPr>
            <p:ph type="ctrTitle"/>
          </p:nvPr>
        </p:nvSpPr>
        <p:spPr bwMode="auto">
          <a:xfrm>
            <a:off x="5740400" y="1122363"/>
            <a:ext cx="49276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547128254" name="Sous-titre 2"/>
          <p:cNvSpPr>
            <a:spLocks noGrp="1"/>
          </p:cNvSpPr>
          <p:nvPr>
            <p:ph type="subTitle" idx="1"/>
          </p:nvPr>
        </p:nvSpPr>
        <p:spPr bwMode="auto">
          <a:xfrm>
            <a:off x="5740398" y="3602038"/>
            <a:ext cx="49276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"/>
              <a:t>Change the style of the mask's captions</a:t>
            </a:r>
            <a:endParaRPr/>
          </a:p>
        </p:txBody>
      </p:sp>
      <p:sp>
        <p:nvSpPr>
          <p:cNvPr id="474537293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209925357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95259860" name="Image 9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7207883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42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re et contenu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596323447" name="Groupe 11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3" name="Image 12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4" name="Image 13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5" name="Image 14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677065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803061548" name="Espace réservé du contenu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519444250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1017177325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06668082" name="Image 6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86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249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V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88806930" name="Groupe 5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7" name="Image 6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8" name="Image 7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9" name="Image 8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1864211292" name="Espace réservé de la date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745227754" name="Espace réservé du numéro de diapositive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675733526" name="Image 4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8260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3506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42442003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7001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218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72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76322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43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446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7968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9201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176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222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3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1021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352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0106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974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83998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8556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81826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6556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529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71358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2084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10491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50536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8336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8020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179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1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>
            <a:extLst>
              <a:ext uri="{FF2B5EF4-FFF2-40B4-BE49-F238E27FC236}">
                <a16:creationId xmlns:a16="http://schemas.microsoft.com/office/drawing/2014/main" id="{484E0F6D-63FE-5C8E-7CAB-5AF1F31BE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E2A23D-CBFC-4343-8BC8-392AC64DF2C3}" type="datetimeFigureOut">
              <a:rPr lang="en-US" smtClean="0"/>
              <a:t>2/17/2026</a:t>
            </a:fld>
            <a:endParaRPr lang="en-US"/>
          </a:p>
        </p:txBody>
      </p:sp>
      <p:sp>
        <p:nvSpPr>
          <p:cNvPr id="3" name="Rezervirano mjesto podnožja 2">
            <a:extLst>
              <a:ext uri="{FF2B5EF4-FFF2-40B4-BE49-F238E27FC236}">
                <a16:creationId xmlns:a16="http://schemas.microsoft.com/office/drawing/2014/main" id="{70C24FF9-FE39-7F4D-E5D7-427988D10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>
            <a:extLst>
              <a:ext uri="{FF2B5EF4-FFF2-40B4-BE49-F238E27FC236}">
                <a16:creationId xmlns:a16="http://schemas.microsoft.com/office/drawing/2014/main" id="{237A9944-36B3-23F2-E21F-26D8EA673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7024C3-DC0F-4F91-9EFD-381921DB96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3810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FEAA0D65-B41D-04C4-56F7-20C1EF0ADF4C}"/>
              </a:ext>
            </a:extLst>
          </p:cNvPr>
          <p:cNvSpPr/>
          <p:nvPr userDrawn="1"/>
        </p:nvSpPr>
        <p:spPr>
          <a:xfrm>
            <a:off x="0" y="-8812"/>
            <a:ext cx="1535656" cy="2213675"/>
          </a:xfrm>
          <a:custGeom>
            <a:avLst/>
            <a:gdLst>
              <a:gd name="connsiteX0" fmla="*/ 607467 w 1472820"/>
              <a:gd name="connsiteY0" fmla="*/ 0 h 2123096"/>
              <a:gd name="connsiteX1" fmla="*/ 674998 w 1472820"/>
              <a:gd name="connsiteY1" fmla="*/ 606672 h 2123096"/>
              <a:gd name="connsiteX2" fmla="*/ 1010564 w 1472820"/>
              <a:gd name="connsiteY2" fmla="*/ 969533 h 2123096"/>
              <a:gd name="connsiteX3" fmla="*/ 1472820 w 1472820"/>
              <a:gd name="connsiteY3" fmla="*/ 1061548 h 2123096"/>
              <a:gd name="connsiteX4" fmla="*/ 1010564 w 1472820"/>
              <a:gd name="connsiteY4" fmla="*/ 1153563 h 2123096"/>
              <a:gd name="connsiteX5" fmla="*/ 674998 w 1472820"/>
              <a:gd name="connsiteY5" fmla="*/ 1516423 h 2123096"/>
              <a:gd name="connsiteX6" fmla="*/ 607467 w 1472820"/>
              <a:gd name="connsiteY6" fmla="*/ 2123096 h 2123096"/>
              <a:gd name="connsiteX7" fmla="*/ 539936 w 1472820"/>
              <a:gd name="connsiteY7" fmla="*/ 1516423 h 2123096"/>
              <a:gd name="connsiteX8" fmla="*/ 204370 w 1472820"/>
              <a:gd name="connsiteY8" fmla="*/ 1153563 h 2123096"/>
              <a:gd name="connsiteX9" fmla="*/ 0 w 1472820"/>
              <a:gd name="connsiteY9" fmla="*/ 1112882 h 2123096"/>
              <a:gd name="connsiteX10" fmla="*/ 0 w 1472820"/>
              <a:gd name="connsiteY10" fmla="*/ 1010214 h 2123096"/>
              <a:gd name="connsiteX11" fmla="*/ 204370 w 1472820"/>
              <a:gd name="connsiteY11" fmla="*/ 969533 h 2123096"/>
              <a:gd name="connsiteX12" fmla="*/ 539936 w 1472820"/>
              <a:gd name="connsiteY12" fmla="*/ 606672 h 212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72820" h="2123096">
                <a:moveTo>
                  <a:pt x="607467" y="0"/>
                </a:moveTo>
                <a:lnTo>
                  <a:pt x="674998" y="606672"/>
                </a:lnTo>
                <a:cubicBezTo>
                  <a:pt x="695413" y="787064"/>
                  <a:pt x="831004" y="934184"/>
                  <a:pt x="1010564" y="969533"/>
                </a:cubicBezTo>
                <a:lnTo>
                  <a:pt x="1472820" y="1061548"/>
                </a:lnTo>
                <a:lnTo>
                  <a:pt x="1010564" y="1153563"/>
                </a:lnTo>
                <a:cubicBezTo>
                  <a:pt x="831004" y="1188912"/>
                  <a:pt x="695413" y="1336032"/>
                  <a:pt x="674998" y="1516423"/>
                </a:cubicBezTo>
                <a:lnTo>
                  <a:pt x="607467" y="2123096"/>
                </a:lnTo>
                <a:lnTo>
                  <a:pt x="539936" y="1516423"/>
                </a:lnTo>
                <a:cubicBezTo>
                  <a:pt x="519516" y="1336032"/>
                  <a:pt x="383930" y="1188912"/>
                  <a:pt x="204370" y="1153563"/>
                </a:cubicBezTo>
                <a:lnTo>
                  <a:pt x="0" y="1112882"/>
                </a:lnTo>
                <a:lnTo>
                  <a:pt x="0" y="1010214"/>
                </a:lnTo>
                <a:lnTo>
                  <a:pt x="204370" y="969533"/>
                </a:lnTo>
                <a:cubicBezTo>
                  <a:pt x="383930" y="934184"/>
                  <a:pt x="519516" y="787064"/>
                  <a:pt x="539936" y="606672"/>
                </a:cubicBezTo>
                <a:close/>
              </a:path>
            </a:pathLst>
          </a:custGeom>
          <a:solidFill>
            <a:srgbClr val="FFDD00">
              <a:alpha val="70152"/>
            </a:srgbClr>
          </a:solidFill>
          <a:ln w="110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052736"/>
            <a:ext cx="10944225" cy="1080120"/>
          </a:xfrm>
        </p:spPr>
        <p:txBody>
          <a:bodyPr anchor="t"/>
          <a:lstStyle>
            <a:lvl1pPr>
              <a:lnSpc>
                <a:spcPct val="90000"/>
              </a:lnSpc>
              <a:defRPr sz="3000" cap="all" baseline="0">
                <a:solidFill>
                  <a:srgbClr val="00519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973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FBAE40"/>
          </p15:clr>
        </p15:guide>
        <p15:guide id="3" orient="horz" pos="3612">
          <p15:clr>
            <a:srgbClr val="FBAE40"/>
          </p15:clr>
        </p15:guide>
        <p15:guide id="4" orient="horz" pos="102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Diapositive de 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26751053" name="Image 7" descr="An image containing Graphic, Screenshot, Colored Character, Design&#10;&#10;Auto-generated description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-4820294" y="-2478732"/>
            <a:ext cx="13202294" cy="13202294"/>
          </a:xfrm>
          <a:prstGeom prst="rect">
            <a:avLst/>
          </a:prstGeom>
        </p:spPr>
      </p:pic>
      <p:sp>
        <p:nvSpPr>
          <p:cNvPr id="1870509271" name="Titre 1"/>
          <p:cNvSpPr>
            <a:spLocks noGrp="1"/>
          </p:cNvSpPr>
          <p:nvPr>
            <p:ph type="ctrTitle"/>
          </p:nvPr>
        </p:nvSpPr>
        <p:spPr bwMode="auto">
          <a:xfrm>
            <a:off x="5740400" y="1122363"/>
            <a:ext cx="49276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547128254" name="Sous-titre 2"/>
          <p:cNvSpPr>
            <a:spLocks noGrp="1"/>
          </p:cNvSpPr>
          <p:nvPr>
            <p:ph type="subTitle" idx="1"/>
          </p:nvPr>
        </p:nvSpPr>
        <p:spPr bwMode="auto">
          <a:xfrm>
            <a:off x="5740398" y="3602038"/>
            <a:ext cx="49276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"/>
              <a:t>Change the style of the mask's captions</a:t>
            </a:r>
            <a:endParaRPr/>
          </a:p>
        </p:txBody>
      </p:sp>
      <p:sp>
        <p:nvSpPr>
          <p:cNvPr id="474537293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209925357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95259860" name="Image 9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7207883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315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4436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re et contenu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596323447" name="Groupe 11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3" name="Image 12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4" name="Image 13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5" name="Image 14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677065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803061548" name="Espace réservé du contenu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519444250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1017177325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06668082" name="Image 6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2579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re seu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955651471" name="Groupe 6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8" name="Image 7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9" name="Image 8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0" name="Image 9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453875148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1068313342" name="Espace réservé de la date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1359130006" name="Espace réservé du numéro de diapositive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702774674" name="Image 5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2357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Deux contenu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683494988" name="Groupe 8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0" name="Image 9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1" name="Image 10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2" name="Image 11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075673288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1002185262" name="Espace réservé du contenu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102596412" name="Espace réservé du contenu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955152062" name="Espace réservé de la date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775677909" name="Espace réservé du numéro de diapositive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332254008" name="Image 7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345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a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350127696" name="Groupe 10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2" name="Image 11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3" name="Image 12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4" name="Image 13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88375073" name="Titre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92025765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Futura PT Dem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</p:txBody>
      </p:sp>
      <p:sp>
        <p:nvSpPr>
          <p:cNvPr id="1235088633" name="Espace réservé du contenu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2120125379" name="Espace réservé du texte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Futura PT Dem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</p:txBody>
      </p:sp>
      <p:sp>
        <p:nvSpPr>
          <p:cNvPr id="692260129" name="Espace réservé du contenu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738780180" name="Espace réservé de la date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1972358087" name="Espace réservé du numéro de diapositive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395834544" name="Image 9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3484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Titre de sec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948897084" name="Groupe 7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9" name="Image 8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0" name="Image 9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1" name="Image 10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823099113" name="Titr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469128293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64C68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</p:txBody>
      </p:sp>
      <p:sp>
        <p:nvSpPr>
          <p:cNvPr id="1439756505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17/02/2026</a:t>
            </a:fld>
            <a:endParaRPr lang="fr-FR"/>
          </a:p>
        </p:txBody>
      </p:sp>
      <p:sp>
        <p:nvSpPr>
          <p:cNvPr id="935029039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2046693850" name="Image 6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187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3539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890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1640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6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tags" Target="../tags/tag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2"/>
    </p:custDataLst>
    <p:extLst>
      <p:ext uri="{BB962C8B-B14F-4D97-AF65-F5344CB8AC3E}">
        <p14:creationId xmlns:p14="http://schemas.microsoft.com/office/powerpoint/2010/main" val="139444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  <p:sldLayoutId id="2147483977" r:id="rId5"/>
    <p:sldLayoutId id="2147483978" r:id="rId6"/>
    <p:sldLayoutId id="2147483979" r:id="rId7"/>
    <p:sldLayoutId id="2147484003" r:id="rId8"/>
    <p:sldLayoutId id="2147483980" r:id="rId9"/>
    <p:sldLayoutId id="2147483981" r:id="rId10"/>
    <p:sldLayoutId id="2147483999" r:id="rId11"/>
    <p:sldLayoutId id="2147483982" r:id="rId12"/>
    <p:sldLayoutId id="2147483983" r:id="rId13"/>
    <p:sldLayoutId id="2147483984" r:id="rId14"/>
    <p:sldLayoutId id="2147484000" r:id="rId15"/>
    <p:sldLayoutId id="2147484001" r:id="rId16"/>
    <p:sldLayoutId id="2147484002" r:id="rId17"/>
    <p:sldLayoutId id="2147483985" r:id="rId18"/>
    <p:sldLayoutId id="2147483986" r:id="rId19"/>
    <p:sldLayoutId id="2147483988" r:id="rId20"/>
    <p:sldLayoutId id="2147483991" r:id="rId21"/>
    <p:sldLayoutId id="2147483992" r:id="rId22"/>
    <p:sldLayoutId id="2147483995" r:id="rId23"/>
    <p:sldLayoutId id="2147483994" r:id="rId24"/>
    <p:sldLayoutId id="2147483997" r:id="rId25"/>
    <p:sldLayoutId id="2147483998" r:id="rId26"/>
    <p:sldLayoutId id="2147484004" r:id="rId27"/>
    <p:sldLayoutId id="2147484034" r:id="rId28"/>
    <p:sldLayoutId id="2147484035" r:id="rId29"/>
    <p:sldLayoutId id="2147484036" r:id="rId3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  <p15:guide id="7" pos="3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3350432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  <p:sldLayoutId id="2147484021" r:id="rId16"/>
    <p:sldLayoutId id="2147484022" r:id="rId17"/>
    <p:sldLayoutId id="2147484023" r:id="rId18"/>
    <p:sldLayoutId id="2147484024" r:id="rId19"/>
    <p:sldLayoutId id="2147484025" r:id="rId20"/>
    <p:sldLayoutId id="2147484026" r:id="rId21"/>
    <p:sldLayoutId id="2147484027" r:id="rId22"/>
    <p:sldLayoutId id="2147484028" r:id="rId23"/>
    <p:sldLayoutId id="2147484029" r:id="rId24"/>
    <p:sldLayoutId id="2147484030" r:id="rId25"/>
    <p:sldLayoutId id="2147484031" r:id="rId26"/>
    <p:sldLayoutId id="2147484032" r:id="rId27"/>
    <p:sldLayoutId id="2147484033" r:id="rId28"/>
    <p:sldLayoutId id="2147484037" r:id="rId29"/>
    <p:sldLayoutId id="2147484038" r:id="rId30"/>
    <p:sldLayoutId id="2147484039" r:id="rId31"/>
    <p:sldLayoutId id="2147484040" r:id="rId32"/>
    <p:sldLayoutId id="2147484041" r:id="rId33"/>
    <p:sldLayoutId id="2147484042" r:id="rId3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image" Target="../media/image19.jpeg"/><Relationship Id="rId7" Type="http://schemas.openxmlformats.org/officeDocument/2006/relationships/image" Target="../media/image28.svg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7.png"/><Relationship Id="rId11" Type="http://schemas.openxmlformats.org/officeDocument/2006/relationships/diagramColors" Target="../diagrams/colors2.xml"/><Relationship Id="rId5" Type="http://schemas.openxmlformats.org/officeDocument/2006/relationships/image" Target="../media/image21.png"/><Relationship Id="rId10" Type="http://schemas.openxmlformats.org/officeDocument/2006/relationships/diagramQuickStyle" Target="../diagrams/quickStyle2.xml"/><Relationship Id="rId4" Type="http://schemas.openxmlformats.org/officeDocument/2006/relationships/image" Target="../media/image20.png"/><Relationship Id="rId9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30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9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1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19.jpe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8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9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9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0.png"/><Relationship Id="rId5" Type="http://schemas.openxmlformats.org/officeDocument/2006/relationships/image" Target="../media/image21.png"/><Relationship Id="rId10" Type="http://schemas.openxmlformats.org/officeDocument/2006/relationships/image" Target="../media/image43.png"/><Relationship Id="rId4" Type="http://schemas.openxmlformats.org/officeDocument/2006/relationships/image" Target="../media/image20.png"/><Relationship Id="rId9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19.jpe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4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8.png"/><Relationship Id="rId5" Type="http://schemas.openxmlformats.org/officeDocument/2006/relationships/image" Target="../media/image20.png"/><Relationship Id="rId4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19.jpe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9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3.png"/><Relationship Id="rId5" Type="http://schemas.openxmlformats.org/officeDocument/2006/relationships/image" Target="../media/image19.jpeg"/><Relationship Id="rId4" Type="http://schemas.openxmlformats.org/officeDocument/2006/relationships/image" Target="../media/image5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55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10" Type="http://schemas.openxmlformats.org/officeDocument/2006/relationships/image" Target="../media/image58.jpeg"/><Relationship Id="rId4" Type="http://schemas.microsoft.com/office/2007/relationships/hdphoto" Target="../media/hdphoto2.wdp"/><Relationship Id="rId9" Type="http://schemas.openxmlformats.org/officeDocument/2006/relationships/image" Target="../media/image57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9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svg"/><Relationship Id="rId7" Type="http://schemas.openxmlformats.org/officeDocument/2006/relationships/image" Target="../media/image88.sv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7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Relationship Id="rId9" Type="http://schemas.openxmlformats.org/officeDocument/2006/relationships/image" Target="../media/image90.sv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svg"/><Relationship Id="rId7" Type="http://schemas.openxmlformats.org/officeDocument/2006/relationships/image" Target="../media/image96.sv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95.png"/><Relationship Id="rId5" Type="http://schemas.openxmlformats.org/officeDocument/2006/relationships/image" Target="../media/image94.svg"/><Relationship Id="rId4" Type="http://schemas.openxmlformats.org/officeDocument/2006/relationships/image" Target="../media/image9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svg"/><Relationship Id="rId7" Type="http://schemas.openxmlformats.org/officeDocument/2006/relationships/image" Target="../media/image102.sv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01.png"/><Relationship Id="rId5" Type="http://schemas.openxmlformats.org/officeDocument/2006/relationships/image" Target="../media/image100.svg"/><Relationship Id="rId4" Type="http://schemas.openxmlformats.org/officeDocument/2006/relationships/image" Target="../media/image99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svg"/><Relationship Id="rId7" Type="http://schemas.openxmlformats.org/officeDocument/2006/relationships/image" Target="../media/image108.sv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07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Relationship Id="rId9" Type="http://schemas.openxmlformats.org/officeDocument/2006/relationships/image" Target="../media/image110.sv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11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5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1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0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0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348C551-D5EF-DBC3-A450-7B8EE21F2D2D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D47A08AA-7980-CD5B-DCD8-86B335FE94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D5DB9F11-7CC5-0F1F-FE33-806633F1BB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7B5FC55-666B-CE59-E9AA-B8A5346104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EDA95A-B598-9502-C566-527C9CABE7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B909D97-8EB0-8B8A-4747-8FAF0C5F81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03396516-063D-FCD0-1C91-90995882DD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D5C9E788-778A-9258-519F-B63250762F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924162AC-E35F-46D0-FE00-45801D67DC26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911378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3600" b="1" err="1">
                <a:cs typeface="Arial"/>
              </a:rPr>
              <a:t>Поддержка</a:t>
            </a:r>
            <a:r>
              <a:rPr lang="en-GB" sz="3600" b="1">
                <a:cs typeface="Arial"/>
              </a:rPr>
              <a:t> </a:t>
            </a:r>
            <a:r>
              <a:rPr lang="en-GB" sz="3600" b="1" err="1">
                <a:cs typeface="Arial"/>
              </a:rPr>
              <a:t>развития</a:t>
            </a:r>
            <a:r>
              <a:rPr lang="en-GB" sz="3600" b="1">
                <a:cs typeface="Arial"/>
              </a:rPr>
              <a:t> </a:t>
            </a:r>
            <a:r>
              <a:rPr lang="en-GB" sz="3600" b="1" err="1">
                <a:cs typeface="Arial"/>
              </a:rPr>
              <a:t>центров</a:t>
            </a:r>
            <a:r>
              <a:rPr lang="en-GB" sz="3600" b="1">
                <a:cs typeface="Arial"/>
              </a:rPr>
              <a:t> </a:t>
            </a:r>
            <a:r>
              <a:rPr lang="en-GB" sz="3600" b="1" err="1">
                <a:cs typeface="Arial"/>
              </a:rPr>
              <a:t>профессионального</a:t>
            </a:r>
            <a:r>
              <a:rPr lang="en-GB" sz="3600" b="1">
                <a:cs typeface="Arial"/>
              </a:rPr>
              <a:t> </a:t>
            </a:r>
            <a:r>
              <a:rPr lang="en-GB" sz="3600" b="1" err="1">
                <a:cs typeface="Arial"/>
              </a:rPr>
              <a:t>мастерства</a:t>
            </a:r>
            <a:r>
              <a:rPr lang="en-GB" sz="3600" b="1">
                <a:cs typeface="Arial"/>
              </a:rPr>
              <a:t> с </a:t>
            </a:r>
            <a:r>
              <a:rPr lang="en-GB" sz="3600" b="1" err="1">
                <a:cs typeface="Arial"/>
              </a:rPr>
              <a:t>помощью</a:t>
            </a:r>
            <a:r>
              <a:rPr lang="en-GB" sz="3600" b="1">
                <a:cs typeface="Arial"/>
              </a:rPr>
              <a:t> </a:t>
            </a:r>
            <a:r>
              <a:rPr lang="en-GB" sz="3600" b="1" err="1">
                <a:cs typeface="Arial"/>
              </a:rPr>
              <a:t>инструмента</a:t>
            </a:r>
            <a:r>
              <a:rPr lang="en-GB" sz="3600" b="1">
                <a:cs typeface="Arial"/>
              </a:rPr>
              <a:t> </a:t>
            </a:r>
            <a:r>
              <a:rPr lang="en-GB" sz="3600" b="1" err="1">
                <a:cs typeface="Arial"/>
              </a:rPr>
              <a:t>самооценки</a:t>
            </a:r>
            <a:r>
              <a:rPr lang="en-GB" sz="3600" b="1">
                <a:cs typeface="Arial"/>
              </a:rPr>
              <a:t> (ISATCOVE)</a:t>
            </a:r>
            <a:endParaRPr lang="en-GB" sz="3600">
              <a:cs typeface="Arial"/>
            </a:endParaRPr>
          </a:p>
          <a:p>
            <a:pPr algn="ctr"/>
            <a:endParaRPr lang="ru-RU" sz="1400" b="1">
              <a:cs typeface="Arial"/>
            </a:endParaRPr>
          </a:p>
          <a:p>
            <a:pPr algn="ctr"/>
            <a:r>
              <a:rPr lang="ru-RU" sz="2400" b="1">
                <a:cs typeface="Arial"/>
              </a:rPr>
              <a:t>День</a:t>
            </a:r>
            <a:r>
              <a:rPr lang="en-GB" sz="2400" b="1">
                <a:cs typeface="Arial"/>
              </a:rPr>
              <a:t> 1</a:t>
            </a:r>
            <a:endParaRPr lang="en-GB" sz="2400">
              <a:cs typeface="Arial"/>
            </a:endParaRPr>
          </a:p>
          <a:p>
            <a:pPr algn="ctr"/>
            <a:endParaRPr lang="en-GB" sz="3200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19C325-6162-5C13-0837-7E53D763C3D4}"/>
              </a:ext>
            </a:extLst>
          </p:cNvPr>
          <p:cNvSpPr txBox="1"/>
          <p:nvPr/>
        </p:nvSpPr>
        <p:spPr>
          <a:xfrm>
            <a:off x="553233" y="5026068"/>
            <a:ext cx="6096000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800" b="1" cap="all"/>
              <a:t>11-13 ФЕВРАЛЯ 2026 ГОДА</a:t>
            </a:r>
            <a:endParaRPr lang="en-GB" sz="2800" b="1">
              <a:cs typeface="Arial" panose="020B0604020202020204"/>
            </a:endParaRPr>
          </a:p>
          <a:p>
            <a:pPr algn="ctr"/>
            <a:r>
              <a:rPr lang="ru-RU" sz="2800" b="1" cap="all">
                <a:cs typeface="Arial"/>
              </a:rPr>
              <a:t>Казахстан, Г.АСТАНА</a:t>
            </a:r>
            <a:endParaRPr lang="ru-RU" sz="2800">
              <a:cs typeface="Arial" panose="020B0604020202020204"/>
            </a:endParaRPr>
          </a:p>
          <a:p>
            <a:pPr algn="ctr"/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1995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911E04-2D80-1786-5E52-6D960903E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F90EA15-ECBE-3156-2E29-EB39EED6E815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FC81A909-C9A7-4617-B081-CB0555E19F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1DBDE5D3-B2FA-F50E-3D20-74122D0BAC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DB2BB9-F625-4183-29AF-12408EBEF2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208010A-70CF-B221-8A32-FEFEB8E42B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746138B-11C5-BC0A-1A02-AAEB807FD1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ADF9B449-39D3-6717-2924-F3AE57B8A5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27F5E540-267A-3B94-0D74-6A8667F373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675529F2-CB54-7F0D-BB69-21BA2555F505}"/>
              </a:ext>
            </a:extLst>
          </p:cNvPr>
          <p:cNvSpPr txBox="1"/>
          <p:nvPr/>
        </p:nvSpPr>
        <p:spPr>
          <a:xfrm>
            <a:off x="176045" y="2020180"/>
            <a:ext cx="7361854" cy="475707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групповое фото</a:t>
            </a:r>
            <a:endParaRPr lang="en-US"/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en-US" sz="3600" b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1:10 – 11:45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</a:t>
            </a:r>
            <a:r>
              <a:rPr lang="ru-RU" sz="3600" b="1" kern="10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/>
              </a:rPr>
              <a:t>break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/>
              </a:rPr>
              <a:t>11:10 – 11:45</a:t>
            </a:r>
          </a:p>
          <a:p>
            <a:endParaRPr lang="en-US" sz="3200" b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167621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7AEE4-967D-C1E4-F12A-CD1B42A57D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C942384-30ED-D131-B0AC-C183AEC9D3A2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6EA799ED-6529-3796-36DE-B94A9542BB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472AC457-545C-EE6D-E42E-D9501C2DF6F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CE3FEE2-00E0-8904-93EE-11A7CC7B5C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1C279E-6EFD-B666-17CB-FD97AA0D1B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1C7491-F143-3ABC-976B-E7717B164F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2E63135C-E994-B3A3-0FCC-023E49CD00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008923B1-BA4E-FBC0-ED04-13A444EA0A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DEAAECA8-243E-EEDA-401E-F9B32D1520AB}"/>
              </a:ext>
            </a:extLst>
          </p:cNvPr>
          <p:cNvSpPr txBox="1">
            <a:spLocks/>
          </p:cNvSpPr>
          <p:nvPr/>
        </p:nvSpPr>
        <p:spPr>
          <a:xfrm>
            <a:off x="550583" y="1715953"/>
            <a:ext cx="5892296" cy="18785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3600" b="1">
                <a:solidFill>
                  <a:schemeClr val="accent2"/>
                </a:solidFill>
                <a:cs typeface="Arial"/>
              </a:rPr>
              <a:t>ISATCOVE</a:t>
            </a:r>
            <a:r>
              <a:rPr lang="en-GB" sz="3600" b="1">
                <a:cs typeface="Arial"/>
              </a:rPr>
              <a:t> </a:t>
            </a:r>
            <a:br>
              <a:rPr lang="en-GB" sz="3600" b="1">
                <a:cs typeface="Arial"/>
              </a:rPr>
            </a:br>
            <a:r>
              <a:rPr lang="en-GB" sz="3600" b="1" err="1">
                <a:cs typeface="Arial"/>
              </a:rPr>
              <a:t>Рамка</a:t>
            </a:r>
            <a:r>
              <a:rPr lang="en-GB" sz="3600" b="1">
                <a:cs typeface="Arial"/>
              </a:rPr>
              <a:t> </a:t>
            </a:r>
            <a:r>
              <a:rPr lang="en-GB" sz="3600" b="1" err="1">
                <a:cs typeface="Arial"/>
              </a:rPr>
              <a:t>для</a:t>
            </a:r>
            <a:r>
              <a:rPr lang="en-GB" sz="3600" b="1">
                <a:cs typeface="Arial"/>
              </a:rPr>
              <a:t> </a:t>
            </a:r>
            <a:r>
              <a:rPr lang="ru-RU" sz="3600" b="1">
                <a:cs typeface="Arial"/>
              </a:rPr>
              <a:t>профессионального мастерства в ПОО</a:t>
            </a:r>
            <a:endParaRPr lang="en-US" sz="3600" b="1"/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3299D792-9CEC-6E41-BCCC-B6D1D7D67B40}"/>
              </a:ext>
            </a:extLst>
          </p:cNvPr>
          <p:cNvSpPr txBox="1">
            <a:spLocks/>
          </p:cNvSpPr>
          <p:nvPr/>
        </p:nvSpPr>
        <p:spPr>
          <a:xfrm>
            <a:off x="550583" y="4569037"/>
            <a:ext cx="5892296" cy="187858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3600">
                <a:solidFill>
                  <a:schemeClr val="accent2">
                    <a:lumMod val="76000"/>
                  </a:schemeClr>
                </a:solidFill>
                <a:cs typeface="Arial"/>
              </a:rPr>
              <a:t>ISATCOVE </a:t>
            </a:r>
            <a:br>
              <a:rPr lang="en-GB" sz="3600">
                <a:cs typeface="Arial"/>
              </a:rPr>
            </a:br>
            <a:r>
              <a:rPr lang="en-GB" sz="36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 Framework for TVET Excellence </a:t>
            </a:r>
            <a:endParaRPr lang="en-US" sz="36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3107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939065-B87F-81B9-C4A0-6E5F5F339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7F31C48A-4FA9-677E-D9A3-40BB1ECC12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A913008-FE8B-AA73-68B6-5F70F8D91E8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5AE144E-314A-F572-94AA-CD519692EB39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144DCFB7-81B5-A5CD-2A6B-F84E44B064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F163DB02-CC19-4D26-5FDC-4084BB3665D1}"/>
              </a:ext>
            </a:extLst>
          </p:cNvPr>
          <p:cNvGrpSpPr/>
          <p:nvPr/>
        </p:nvGrpSpPr>
        <p:grpSpPr>
          <a:xfrm>
            <a:off x="1754708" y="1930690"/>
            <a:ext cx="6930377" cy="3662551"/>
            <a:chOff x="695400" y="1966743"/>
            <a:chExt cx="6930377" cy="366255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829F832-0D32-88BC-49C5-2290BAC60910}"/>
                </a:ext>
              </a:extLst>
            </p:cNvPr>
            <p:cNvSpPr/>
            <p:nvPr/>
          </p:nvSpPr>
          <p:spPr>
            <a:xfrm>
              <a:off x="695400" y="1966743"/>
              <a:ext cx="6552727" cy="3662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1472C6C-9F04-58C9-A13B-74693B044A69}"/>
                </a:ext>
              </a:extLst>
            </p:cNvPr>
            <p:cNvGrpSpPr/>
            <p:nvPr/>
          </p:nvGrpSpPr>
          <p:grpSpPr>
            <a:xfrm>
              <a:off x="1055440" y="2022921"/>
              <a:ext cx="6570337" cy="830997"/>
              <a:chOff x="4793928" y="1364955"/>
              <a:chExt cx="6570337" cy="830997"/>
            </a:xfrm>
          </p:grpSpPr>
          <p:pic>
            <p:nvPicPr>
              <p:cNvPr id="8" name="Graphic 7">
                <a:extLst>
                  <a:ext uri="{FF2B5EF4-FFF2-40B4-BE49-F238E27FC236}">
                    <a16:creationId xmlns:a16="http://schemas.microsoft.com/office/drawing/2014/main" id="{DB0DDD4A-EDA5-D8BB-D9DE-3F198BE976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93928" y="1556792"/>
                <a:ext cx="2604144" cy="468000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B24443C-0571-EDC8-E90B-2DA6ABB23607}"/>
                  </a:ext>
                </a:extLst>
              </p:cNvPr>
              <p:cNvSpPr txBox="1"/>
              <p:nvPr/>
            </p:nvSpPr>
            <p:spPr>
              <a:xfrm>
                <a:off x="7555295" y="1364955"/>
                <a:ext cx="3808970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/>
                  <a:t>Международный инструмент самооценки для центров профессионального совершенства</a:t>
                </a:r>
                <a:endParaRPr lang="en-GB" sz="1600" b="1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4FF059D-34DC-52F2-126E-758EC141C28D}"/>
                </a:ext>
              </a:extLst>
            </p:cNvPr>
            <p:cNvGrpSpPr/>
            <p:nvPr/>
          </p:nvGrpSpPr>
          <p:grpSpPr>
            <a:xfrm>
              <a:off x="833449" y="2886536"/>
              <a:ext cx="6017353" cy="2487879"/>
              <a:chOff x="3157807" y="3062212"/>
              <a:chExt cx="6017353" cy="2487879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B4FA089-7C47-AF3B-6FD8-90ABFA8548ED}"/>
                  </a:ext>
                </a:extLst>
              </p:cNvPr>
              <p:cNvSpPr txBox="1"/>
              <p:nvPr/>
            </p:nvSpPr>
            <p:spPr>
              <a:xfrm>
                <a:off x="3301646" y="3357535"/>
                <a:ext cx="3129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b="1">
                    <a:solidFill>
                      <a:srgbClr val="164194"/>
                    </a:solidFill>
                  </a:rPr>
                  <a:t>3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D18F94E-BCA5-0012-6860-8466848F1FF9}"/>
                  </a:ext>
                </a:extLst>
              </p:cNvPr>
              <p:cNvSpPr txBox="1"/>
              <p:nvPr/>
            </p:nvSpPr>
            <p:spPr>
              <a:xfrm>
                <a:off x="3221928" y="4112846"/>
                <a:ext cx="44114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b="1">
                    <a:solidFill>
                      <a:srgbClr val="164194"/>
                    </a:solidFill>
                  </a:rPr>
                  <a:t>23</a:t>
                </a:r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6196D2F7-6DB0-B3F4-4CF6-68DABB773B4C}"/>
                  </a:ext>
                </a:extLst>
              </p:cNvPr>
              <p:cNvGrpSpPr/>
              <p:nvPr/>
            </p:nvGrpSpPr>
            <p:grpSpPr>
              <a:xfrm>
                <a:off x="3745576" y="3062212"/>
                <a:ext cx="5429584" cy="2487879"/>
                <a:chOff x="3727104" y="2535850"/>
                <a:chExt cx="5429584" cy="2487879"/>
              </a:xfrm>
            </p:grpSpPr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DAF11C68-8611-AE76-929F-0BA798BBCD68}"/>
                    </a:ext>
                  </a:extLst>
                </p:cNvPr>
                <p:cNvGrpSpPr/>
                <p:nvPr/>
              </p:nvGrpSpPr>
              <p:grpSpPr>
                <a:xfrm>
                  <a:off x="3727104" y="2535850"/>
                  <a:ext cx="5429584" cy="726937"/>
                  <a:chOff x="682786" y="2703619"/>
                  <a:chExt cx="5429584" cy="726937"/>
                </a:xfrm>
              </p:grpSpPr>
              <p:sp>
                <p:nvSpPr>
                  <p:cNvPr id="37" name="Rectangle: Rounded Corners 36">
                    <a:extLst>
                      <a:ext uri="{FF2B5EF4-FFF2-40B4-BE49-F238E27FC236}">
                        <a16:creationId xmlns:a16="http://schemas.microsoft.com/office/drawing/2014/main" id="{819E0F04-6F42-510E-02CD-DF8766D1853F}"/>
                      </a:ext>
                    </a:extLst>
                  </p:cNvPr>
                  <p:cNvSpPr/>
                  <p:nvPr/>
                </p:nvSpPr>
                <p:spPr>
                  <a:xfrm>
                    <a:off x="2501166" y="2703619"/>
                    <a:ext cx="1692000" cy="720000"/>
                  </a:xfrm>
                  <a:prstGeom prst="roundRect">
                    <a:avLst/>
                  </a:prstGeom>
                  <a:solidFill>
                    <a:srgbClr val="16419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Партнёрство и координация</a:t>
                    </a:r>
                    <a:endParaRPr lang="en-GB" sz="1400" b="1"/>
                  </a:p>
                </p:txBody>
              </p:sp>
              <p:sp>
                <p:nvSpPr>
                  <p:cNvPr id="38" name="Rectangle: Rounded Corners 37">
                    <a:extLst>
                      <a:ext uri="{FF2B5EF4-FFF2-40B4-BE49-F238E27FC236}">
                        <a16:creationId xmlns:a16="http://schemas.microsoft.com/office/drawing/2014/main" id="{EC950448-AF36-3D89-0406-DA693FD7D3F3}"/>
                      </a:ext>
                    </a:extLst>
                  </p:cNvPr>
                  <p:cNvSpPr/>
                  <p:nvPr/>
                </p:nvSpPr>
                <p:spPr>
                  <a:xfrm>
                    <a:off x="682786" y="2710556"/>
                    <a:ext cx="1692000" cy="720000"/>
                  </a:xfrm>
                  <a:prstGeom prst="roundRect">
                    <a:avLst/>
                  </a:prstGeom>
                  <a:solidFill>
                    <a:srgbClr val="16419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Преподавание и обучение</a:t>
                    </a:r>
                    <a:endParaRPr lang="en-GB" sz="1400" b="1"/>
                  </a:p>
                </p:txBody>
              </p:sp>
              <p:sp>
                <p:nvSpPr>
                  <p:cNvPr id="39" name="Rectangle: Rounded Corners 38">
                    <a:extLst>
                      <a:ext uri="{FF2B5EF4-FFF2-40B4-BE49-F238E27FC236}">
                        <a16:creationId xmlns:a16="http://schemas.microsoft.com/office/drawing/2014/main" id="{9D4EAD0A-BA41-0088-F4E1-D2E1404C820A}"/>
                      </a:ext>
                    </a:extLst>
                  </p:cNvPr>
                  <p:cNvSpPr/>
                  <p:nvPr/>
                </p:nvSpPr>
                <p:spPr>
                  <a:xfrm>
                    <a:off x="4301365" y="2710556"/>
                    <a:ext cx="1811005" cy="720000"/>
                  </a:xfrm>
                  <a:prstGeom prst="roundRect">
                    <a:avLst/>
                  </a:prstGeom>
                  <a:solidFill>
                    <a:srgbClr val="16419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Управление и финансирование</a:t>
                    </a:r>
                    <a:endParaRPr lang="en-GB" sz="1400" b="1"/>
                  </a:p>
                </p:txBody>
              </p:sp>
            </p:grpSp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02B5C25A-E2B1-BDF9-77CC-C35A97A09514}"/>
                    </a:ext>
                  </a:extLst>
                </p:cNvPr>
                <p:cNvGrpSpPr/>
                <p:nvPr/>
              </p:nvGrpSpPr>
              <p:grpSpPr>
                <a:xfrm>
                  <a:off x="3733411" y="3429000"/>
                  <a:ext cx="5310580" cy="726937"/>
                  <a:chOff x="695400" y="2566351"/>
                  <a:chExt cx="5310580" cy="726937"/>
                </a:xfrm>
              </p:grpSpPr>
              <p:sp>
                <p:nvSpPr>
                  <p:cNvPr id="11" name="Rectangle: Rounded Corners 10">
                    <a:extLst>
                      <a:ext uri="{FF2B5EF4-FFF2-40B4-BE49-F238E27FC236}">
                        <a16:creationId xmlns:a16="http://schemas.microsoft.com/office/drawing/2014/main" id="{6EC57468-16FE-42A9-D096-A3714EC0F1F8}"/>
                      </a:ext>
                    </a:extLst>
                  </p:cNvPr>
                  <p:cNvSpPr/>
                  <p:nvPr/>
                </p:nvSpPr>
                <p:spPr>
                  <a:xfrm>
                    <a:off x="2513780" y="2566351"/>
                    <a:ext cx="1692000" cy="720000"/>
                  </a:xfrm>
                  <a:prstGeom prst="roundRect">
                    <a:avLst/>
                  </a:prstGeom>
                  <a:solidFill>
                    <a:srgbClr val="2563D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Критерии</a:t>
                    </a:r>
                    <a:endParaRPr lang="en-GB" sz="1400" b="1"/>
                  </a:p>
                  <a:p>
                    <a:pPr algn="ctr"/>
                    <a:r>
                      <a:rPr lang="en-GB" sz="1400" i="1"/>
                      <a:t>(</a:t>
                    </a:r>
                    <a:r>
                      <a:rPr lang="ru-RU" sz="1400" i="1"/>
                      <a:t>деятельность</a:t>
                    </a:r>
                    <a:r>
                      <a:rPr lang="en-GB" sz="1400" i="1"/>
                      <a:t>)</a:t>
                    </a:r>
                    <a:endParaRPr lang="en-GB" sz="1400" b="1"/>
                  </a:p>
                </p:txBody>
              </p:sp>
              <p:sp>
                <p:nvSpPr>
                  <p:cNvPr id="12" name="Rectangle: Rounded Corners 11">
                    <a:extLst>
                      <a:ext uri="{FF2B5EF4-FFF2-40B4-BE49-F238E27FC236}">
                        <a16:creationId xmlns:a16="http://schemas.microsoft.com/office/drawing/2014/main" id="{1301C57C-C6E2-BB41-055B-D88789A16A79}"/>
                      </a:ext>
                    </a:extLst>
                  </p:cNvPr>
                  <p:cNvSpPr/>
                  <p:nvPr/>
                </p:nvSpPr>
                <p:spPr>
                  <a:xfrm>
                    <a:off x="695400" y="2573288"/>
                    <a:ext cx="1692000" cy="720000"/>
                  </a:xfrm>
                  <a:prstGeom prst="roundRect">
                    <a:avLst/>
                  </a:prstGeom>
                  <a:solidFill>
                    <a:srgbClr val="2563D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Критерии</a:t>
                    </a:r>
                    <a:r>
                      <a:rPr lang="en-GB" sz="1400" b="1"/>
                      <a:t> </a:t>
                    </a:r>
                    <a:r>
                      <a:rPr lang="en-GB" sz="1400" i="1"/>
                      <a:t>(</a:t>
                    </a:r>
                    <a:r>
                      <a:rPr lang="ru-RU" sz="1400" i="1"/>
                      <a:t>деятельность</a:t>
                    </a:r>
                    <a:r>
                      <a:rPr lang="en-GB" sz="1400" i="1"/>
                      <a:t>)</a:t>
                    </a:r>
                  </a:p>
                </p:txBody>
              </p:sp>
              <p:sp>
                <p:nvSpPr>
                  <p:cNvPr id="15" name="Rectangle: Rounded Corners 14">
                    <a:extLst>
                      <a:ext uri="{FF2B5EF4-FFF2-40B4-BE49-F238E27FC236}">
                        <a16:creationId xmlns:a16="http://schemas.microsoft.com/office/drawing/2014/main" id="{2230C536-AF27-5FC0-B4E2-DA272C233C58}"/>
                      </a:ext>
                    </a:extLst>
                  </p:cNvPr>
                  <p:cNvSpPr/>
                  <p:nvPr/>
                </p:nvSpPr>
                <p:spPr>
                  <a:xfrm>
                    <a:off x="4313980" y="2573288"/>
                    <a:ext cx="1692000" cy="720000"/>
                  </a:xfrm>
                  <a:prstGeom prst="roundRect">
                    <a:avLst/>
                  </a:prstGeom>
                  <a:solidFill>
                    <a:srgbClr val="2563D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Критерии</a:t>
                    </a:r>
                    <a:endParaRPr lang="en-GB" sz="1400" b="1"/>
                  </a:p>
                  <a:p>
                    <a:pPr algn="ctr"/>
                    <a:r>
                      <a:rPr lang="en-GB" sz="1400" i="1"/>
                      <a:t>(</a:t>
                    </a:r>
                    <a:r>
                      <a:rPr lang="ru-RU" sz="1400" i="1"/>
                      <a:t>деятельность</a:t>
                    </a:r>
                    <a:r>
                      <a:rPr lang="en-GB" sz="1400" i="1"/>
                      <a:t>)</a:t>
                    </a:r>
                    <a:endParaRPr lang="en-GB" sz="1400" b="1"/>
                  </a:p>
                </p:txBody>
              </p:sp>
            </p:grp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3EA76DBC-0616-1158-BFDE-41C6A042D462}"/>
                    </a:ext>
                  </a:extLst>
                </p:cNvPr>
                <p:cNvGrpSpPr/>
                <p:nvPr/>
              </p:nvGrpSpPr>
              <p:grpSpPr>
                <a:xfrm>
                  <a:off x="3727104" y="4296792"/>
                  <a:ext cx="5310580" cy="726937"/>
                  <a:chOff x="695400" y="2566351"/>
                  <a:chExt cx="5310580" cy="726937"/>
                </a:xfrm>
              </p:grpSpPr>
              <p:sp>
                <p:nvSpPr>
                  <p:cNvPr id="24" name="Rectangle: Rounded Corners 23">
                    <a:extLst>
                      <a:ext uri="{FF2B5EF4-FFF2-40B4-BE49-F238E27FC236}">
                        <a16:creationId xmlns:a16="http://schemas.microsoft.com/office/drawing/2014/main" id="{BACDC056-2243-6B13-0540-1B337D62B3E1}"/>
                      </a:ext>
                    </a:extLst>
                  </p:cNvPr>
                  <p:cNvSpPr/>
                  <p:nvPr/>
                </p:nvSpPr>
                <p:spPr>
                  <a:xfrm>
                    <a:off x="2513780" y="2566351"/>
                    <a:ext cx="1692000" cy="720000"/>
                  </a:xfrm>
                  <a:prstGeom prst="roundRect">
                    <a:avLst/>
                  </a:prstGeom>
                  <a:solidFill>
                    <a:srgbClr val="7CA1E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Индикаторы</a:t>
                    </a:r>
                    <a:endParaRPr lang="en-GB" sz="1400" b="1"/>
                  </a:p>
                  <a:p>
                    <a:pPr algn="ctr"/>
                    <a:r>
                      <a:rPr lang="en-GB" sz="1400" i="1"/>
                      <a:t>(</a:t>
                    </a:r>
                    <a:r>
                      <a:rPr lang="ru-RU" sz="1400" i="1"/>
                      <a:t>меры</a:t>
                    </a:r>
                    <a:r>
                      <a:rPr lang="en-GB" sz="1400" i="1"/>
                      <a:t>)</a:t>
                    </a:r>
                    <a:endParaRPr lang="en-GB" sz="1400" b="1"/>
                  </a:p>
                </p:txBody>
              </p:sp>
              <p:sp>
                <p:nvSpPr>
                  <p:cNvPr id="25" name="Rectangle: Rounded Corners 24">
                    <a:extLst>
                      <a:ext uri="{FF2B5EF4-FFF2-40B4-BE49-F238E27FC236}">
                        <a16:creationId xmlns:a16="http://schemas.microsoft.com/office/drawing/2014/main" id="{EECB3C5F-B24E-824D-BE20-B0E9BE28C48D}"/>
                      </a:ext>
                    </a:extLst>
                  </p:cNvPr>
                  <p:cNvSpPr/>
                  <p:nvPr/>
                </p:nvSpPr>
                <p:spPr>
                  <a:xfrm>
                    <a:off x="695400" y="2573288"/>
                    <a:ext cx="1692000" cy="720000"/>
                  </a:xfrm>
                  <a:prstGeom prst="roundRect">
                    <a:avLst/>
                  </a:prstGeom>
                  <a:solidFill>
                    <a:srgbClr val="7CA1E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Индикаторы</a:t>
                    </a:r>
                    <a:endParaRPr lang="en-GB" sz="1400" b="1"/>
                  </a:p>
                  <a:p>
                    <a:pPr algn="ctr"/>
                    <a:r>
                      <a:rPr lang="en-GB" sz="1400" i="1"/>
                      <a:t>(</a:t>
                    </a:r>
                    <a:r>
                      <a:rPr lang="ru-RU" sz="1400" i="1"/>
                      <a:t>меры</a:t>
                    </a:r>
                    <a:r>
                      <a:rPr lang="en-GB" sz="1400" i="1"/>
                      <a:t>)</a:t>
                    </a:r>
                  </a:p>
                </p:txBody>
              </p:sp>
              <p:sp>
                <p:nvSpPr>
                  <p:cNvPr id="26" name="Rectangle: Rounded Corners 25">
                    <a:extLst>
                      <a:ext uri="{FF2B5EF4-FFF2-40B4-BE49-F238E27FC236}">
                        <a16:creationId xmlns:a16="http://schemas.microsoft.com/office/drawing/2014/main" id="{E397BA5B-A0D4-9DC0-E8C6-AE543246BE90}"/>
                      </a:ext>
                    </a:extLst>
                  </p:cNvPr>
                  <p:cNvSpPr/>
                  <p:nvPr/>
                </p:nvSpPr>
                <p:spPr>
                  <a:xfrm>
                    <a:off x="4313980" y="2573288"/>
                    <a:ext cx="1692000" cy="720000"/>
                  </a:xfrm>
                  <a:prstGeom prst="roundRect">
                    <a:avLst/>
                  </a:prstGeom>
                  <a:solidFill>
                    <a:srgbClr val="7CA1E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b="1"/>
                      <a:t>Индикаторы</a:t>
                    </a:r>
                    <a:endParaRPr lang="en-GB" sz="1400" b="1"/>
                  </a:p>
                  <a:p>
                    <a:pPr algn="ctr"/>
                    <a:r>
                      <a:rPr lang="en-GB" sz="1400" i="1"/>
                      <a:t>(</a:t>
                    </a:r>
                    <a:r>
                      <a:rPr lang="ru-RU" sz="1400" i="1"/>
                      <a:t>меры</a:t>
                    </a:r>
                    <a:r>
                      <a:rPr lang="en-GB" sz="1400" i="1"/>
                      <a:t>)</a:t>
                    </a:r>
                    <a:endParaRPr lang="en-GB" sz="1400" b="1"/>
                  </a:p>
                </p:txBody>
              </p:sp>
            </p:grpSp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7888305-B55B-6F27-9FCE-4D037127A879}"/>
                  </a:ext>
                </a:extLst>
              </p:cNvPr>
              <p:cNvSpPr txBox="1"/>
              <p:nvPr/>
            </p:nvSpPr>
            <p:spPr>
              <a:xfrm>
                <a:off x="3157807" y="5027708"/>
                <a:ext cx="56938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b="1">
                    <a:solidFill>
                      <a:srgbClr val="164194"/>
                    </a:solidFill>
                  </a:rPr>
                  <a:t>577</a:t>
                </a:r>
              </a:p>
            </p:txBody>
          </p:sp>
        </p:grpSp>
      </p:grpSp>
      <p:graphicFrame>
        <p:nvGraphicFramePr>
          <p:cNvPr id="44" name="Diagram 43">
            <a:extLst>
              <a:ext uri="{FF2B5EF4-FFF2-40B4-BE49-F238E27FC236}">
                <a16:creationId xmlns:a16="http://schemas.microsoft.com/office/drawing/2014/main" id="{F7923010-FB8B-F3ED-7B11-B46A1B6FC5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1636109"/>
              </p:ext>
            </p:extLst>
          </p:nvPr>
        </p:nvGraphicFramePr>
        <p:xfrm>
          <a:off x="8013169" y="2178705"/>
          <a:ext cx="4566603" cy="3456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Rounded Rectangle 33">
            <a:extLst>
              <a:ext uri="{FF2B5EF4-FFF2-40B4-BE49-F238E27FC236}">
                <a16:creationId xmlns:a16="http://schemas.microsoft.com/office/drawing/2014/main" id="{0405B5E5-9B8B-E55A-EE59-C5A92A632BFD}"/>
              </a:ext>
            </a:extLst>
          </p:cNvPr>
          <p:cNvSpPr/>
          <p:nvPr/>
        </p:nvSpPr>
        <p:spPr>
          <a:xfrm>
            <a:off x="2683577" y="5852701"/>
            <a:ext cx="4970135" cy="449049"/>
          </a:xfrm>
          <a:prstGeom prst="roundRect">
            <a:avLst>
              <a:gd name="adj" fmla="val 50000"/>
            </a:avLst>
          </a:prstGeom>
          <a:solidFill>
            <a:srgbClr val="2725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/>
              <a:t>Основан на данных и гибкий</a:t>
            </a:r>
            <a:endParaRPr lang="en-GB" sz="20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358C83-4A38-4449-BCC3-0FE53D2B6447}"/>
              </a:ext>
            </a:extLst>
          </p:cNvPr>
          <p:cNvSpPr txBox="1">
            <a:spLocks/>
          </p:cNvSpPr>
          <p:nvPr/>
        </p:nvSpPr>
        <p:spPr>
          <a:xfrm>
            <a:off x="2064600" y="441870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Рамка для профессионального мастерства в ПОО</a:t>
            </a: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52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2B41D-B425-D470-491A-B63589734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931B301-2E6E-14AA-2EBA-51909A18C630}"/>
              </a:ext>
            </a:extLst>
          </p:cNvPr>
          <p:cNvSpPr/>
          <p:nvPr/>
        </p:nvSpPr>
        <p:spPr>
          <a:xfrm>
            <a:off x="6096000" y="3861047"/>
            <a:ext cx="3920463" cy="2400693"/>
          </a:xfrm>
          <a:prstGeom prst="rect">
            <a:avLst/>
          </a:prstGeom>
          <a:solidFill>
            <a:srgbClr val="7CA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0C65BB-9EB9-8EEB-891E-7C447B3B89E3}"/>
              </a:ext>
            </a:extLst>
          </p:cNvPr>
          <p:cNvSpPr/>
          <p:nvPr/>
        </p:nvSpPr>
        <p:spPr>
          <a:xfrm>
            <a:off x="2165298" y="1773297"/>
            <a:ext cx="3920463" cy="2159759"/>
          </a:xfrm>
          <a:prstGeom prst="rect">
            <a:avLst/>
          </a:prstGeom>
          <a:solidFill>
            <a:srgbClr val="7CA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91A5CE-B1AE-F1A0-CFA8-CF093F42CAE4}"/>
              </a:ext>
            </a:extLst>
          </p:cNvPr>
          <p:cNvSpPr/>
          <p:nvPr/>
        </p:nvSpPr>
        <p:spPr>
          <a:xfrm>
            <a:off x="6096000" y="1773296"/>
            <a:ext cx="3920463" cy="2159759"/>
          </a:xfrm>
          <a:prstGeom prst="rect">
            <a:avLst/>
          </a:prstGeom>
          <a:solidFill>
            <a:srgbClr val="7CA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36C32B39-A22D-3B09-3C66-2A970F43F7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D3630C6-B742-B3E8-1F92-4BB5CB3FD33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5F0FD61-BBBB-C5CF-CF3A-713B9AB9024E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4BF2CBF-2787-64C2-08AB-4EF1A3DFA3A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9E61C8A2-B260-DA60-5C02-8000726B3BA2}"/>
              </a:ext>
            </a:extLst>
          </p:cNvPr>
          <p:cNvGrpSpPr/>
          <p:nvPr/>
        </p:nvGrpSpPr>
        <p:grpSpPr>
          <a:xfrm>
            <a:off x="2667829" y="2022777"/>
            <a:ext cx="2952000" cy="1575466"/>
            <a:chOff x="3969589" y="2439624"/>
            <a:chExt cx="2952000" cy="1575466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1F0027B-3B51-CFFB-C000-644196185FFC}"/>
                </a:ext>
              </a:extLst>
            </p:cNvPr>
            <p:cNvSpPr/>
            <p:nvPr/>
          </p:nvSpPr>
          <p:spPr>
            <a:xfrm>
              <a:off x="3969589" y="2439624"/>
              <a:ext cx="2952000" cy="540000"/>
            </a:xfrm>
            <a:prstGeom prst="roundRect">
              <a:avLst/>
            </a:prstGeom>
            <a:solidFill>
              <a:srgbClr val="16419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/>
                <a:t>Преподавание и обучение</a:t>
              </a:r>
              <a:endParaRPr lang="en-GB" sz="1600" b="1"/>
            </a:p>
          </p:txBody>
        </p:sp>
        <p:sp>
          <p:nvSpPr>
            <p:cNvPr id="6" name="Content Placeholder 48">
              <a:extLst>
                <a:ext uri="{FF2B5EF4-FFF2-40B4-BE49-F238E27FC236}">
                  <a16:creationId xmlns:a16="http://schemas.microsoft.com/office/drawing/2014/main" id="{38EA3507-C45B-38C9-3E5A-C8D7B945ADF5}"/>
                </a:ext>
              </a:extLst>
            </p:cNvPr>
            <p:cNvSpPr txBox="1">
              <a:spLocks/>
            </p:cNvSpPr>
            <p:nvPr/>
          </p:nvSpPr>
          <p:spPr>
            <a:xfrm>
              <a:off x="4404136" y="3138815"/>
              <a:ext cx="2338801" cy="876275"/>
            </a:xfrm>
            <a:prstGeom prst="rect">
              <a:avLst/>
            </a:prstGeom>
          </p:spPr>
          <p:txBody>
            <a:bodyPr vert="horz" lIns="0" tIns="0" rIns="9144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176213" indent="-1762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452438" indent="-1873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17550" indent="-1762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86900" indent="-342900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Актуальность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marL="486900" indent="-342900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Инклюзивность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marL="486900" indent="-342900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Инновации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989F51B-95C7-506E-94F7-3AD8CBE682D4}"/>
              </a:ext>
            </a:extLst>
          </p:cNvPr>
          <p:cNvGrpSpPr/>
          <p:nvPr/>
        </p:nvGrpSpPr>
        <p:grpSpPr>
          <a:xfrm>
            <a:off x="6091028" y="2013745"/>
            <a:ext cx="3920461" cy="1598567"/>
            <a:chOff x="7686208" y="1970235"/>
            <a:chExt cx="3920461" cy="1598567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03E50F5-8B1C-B69D-7878-1AAFB6FD700B}"/>
                </a:ext>
              </a:extLst>
            </p:cNvPr>
            <p:cNvSpPr/>
            <p:nvPr/>
          </p:nvSpPr>
          <p:spPr>
            <a:xfrm>
              <a:off x="8170439" y="1970235"/>
              <a:ext cx="2952000" cy="540000"/>
            </a:xfrm>
            <a:prstGeom prst="roundRect">
              <a:avLst/>
            </a:prstGeom>
            <a:solidFill>
              <a:srgbClr val="16419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/>
                <a:t>Партнёрство и координация</a:t>
              </a:r>
              <a:endParaRPr lang="en-GB" sz="1600" b="1"/>
            </a:p>
          </p:txBody>
        </p:sp>
        <p:sp>
          <p:nvSpPr>
            <p:cNvPr id="18" name="Content Placeholder 48">
              <a:extLst>
                <a:ext uri="{FF2B5EF4-FFF2-40B4-BE49-F238E27FC236}">
                  <a16:creationId xmlns:a16="http://schemas.microsoft.com/office/drawing/2014/main" id="{35932167-894E-7144-1AD2-E7FAE677517F}"/>
                </a:ext>
              </a:extLst>
            </p:cNvPr>
            <p:cNvSpPr txBox="1">
              <a:spLocks/>
            </p:cNvSpPr>
            <p:nvPr/>
          </p:nvSpPr>
          <p:spPr>
            <a:xfrm>
              <a:off x="7686208" y="2689468"/>
              <a:ext cx="3920461" cy="879334"/>
            </a:xfrm>
            <a:prstGeom prst="rect">
              <a:avLst/>
            </a:prstGeom>
          </p:spPr>
          <p:txBody>
            <a:bodyPr vert="horz" lIns="0" tIns="0" rIns="9144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176213" indent="-1762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452438" indent="-1873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17550" indent="-1762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86900" indent="-342900" algn="l" rtl="0" eaLnBrk="1" latinLnBrk="0" hangingPunct="1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Сотрудничество и партнёрство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marL="486900" indent="-342900" algn="l" rtl="0" eaLnBrk="1" latinLnBrk="0" hangingPunct="1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Ресурсы и учебные программы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marL="486900" indent="-342900" algn="l" rtl="0" eaLnBrk="1" latinLnBrk="0" hangingPunct="1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Осведомлённость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F90B75B-FDBC-145B-D275-669C03063B33}"/>
              </a:ext>
            </a:extLst>
          </p:cNvPr>
          <p:cNvGrpSpPr/>
          <p:nvPr/>
        </p:nvGrpSpPr>
        <p:grpSpPr>
          <a:xfrm>
            <a:off x="6085760" y="4176819"/>
            <a:ext cx="3920459" cy="1565867"/>
            <a:chOff x="7908844" y="4127485"/>
            <a:chExt cx="3920459" cy="1565867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B13D328-8EA7-F355-1214-24A553C8F88D}"/>
                </a:ext>
              </a:extLst>
            </p:cNvPr>
            <p:cNvSpPr/>
            <p:nvPr/>
          </p:nvSpPr>
          <p:spPr>
            <a:xfrm>
              <a:off x="8398343" y="4127485"/>
              <a:ext cx="2952000" cy="540000"/>
            </a:xfrm>
            <a:prstGeom prst="roundRect">
              <a:avLst/>
            </a:prstGeom>
            <a:solidFill>
              <a:srgbClr val="16419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/>
                <a:t>Управление и финансирование</a:t>
              </a:r>
              <a:endParaRPr lang="en-GB" sz="1600" b="1"/>
            </a:p>
          </p:txBody>
        </p:sp>
        <p:sp>
          <p:nvSpPr>
            <p:cNvPr id="20" name="Content Placeholder 48">
              <a:extLst>
                <a:ext uri="{FF2B5EF4-FFF2-40B4-BE49-F238E27FC236}">
                  <a16:creationId xmlns:a16="http://schemas.microsoft.com/office/drawing/2014/main" id="{DF57C16F-5519-6675-E477-CB23E8327481}"/>
                </a:ext>
              </a:extLst>
            </p:cNvPr>
            <p:cNvSpPr txBox="1">
              <a:spLocks/>
            </p:cNvSpPr>
            <p:nvPr/>
          </p:nvSpPr>
          <p:spPr>
            <a:xfrm>
              <a:off x="7908844" y="4767364"/>
              <a:ext cx="3920459" cy="925988"/>
            </a:xfrm>
            <a:prstGeom prst="rect">
              <a:avLst/>
            </a:prstGeom>
          </p:spPr>
          <p:txBody>
            <a:bodyPr vert="horz" lIns="0" tIns="0" rIns="9144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176213" indent="-1762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452438" indent="-1873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17550" indent="-1762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86900" indent="-342900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Автономия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marL="486900" indent="-342900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Вовлечение заинтересованных сторон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marL="486900" indent="-342900">
                <a:spcAft>
                  <a:spcPts val="0"/>
                </a:spcAft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b="0">
                  <a:solidFill>
                    <a:schemeClr val="bg1"/>
                  </a:solidFill>
                  <a:latin typeface="Arial" panose="020B0604020202020204" pitchFamily="34" charset="0"/>
                </a:rPr>
                <a:t>Устойчивое ресурсное обеспечение</a:t>
              </a:r>
              <a:endParaRPr lang="en-GB" b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21" name="Graphic 20">
            <a:extLst>
              <a:ext uri="{FF2B5EF4-FFF2-40B4-BE49-F238E27FC236}">
                <a16:creationId xmlns:a16="http://schemas.microsoft.com/office/drawing/2014/main" id="{6DADB7A9-5406-38B9-692C-7002BB3E0B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83713" y="4635677"/>
            <a:ext cx="2604144" cy="4680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2E52986-B860-E96F-1B2A-D01BF1ADC724}"/>
              </a:ext>
            </a:extLst>
          </p:cNvPr>
          <p:cNvCxnSpPr/>
          <p:nvPr/>
        </p:nvCxnSpPr>
        <p:spPr>
          <a:xfrm>
            <a:off x="6096000" y="1773296"/>
            <a:ext cx="0" cy="4248000"/>
          </a:xfrm>
          <a:prstGeom prst="line">
            <a:avLst/>
          </a:prstGeom>
          <a:ln w="38100">
            <a:solidFill>
              <a:schemeClr val="bg2">
                <a:lumMod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7307EBC-234D-1388-DB22-A0E05039CEE5}"/>
              </a:ext>
            </a:extLst>
          </p:cNvPr>
          <p:cNvCxnSpPr>
            <a:cxnSpLocks/>
          </p:cNvCxnSpPr>
          <p:nvPr/>
        </p:nvCxnSpPr>
        <p:spPr>
          <a:xfrm rot="16200000">
            <a:off x="6096440" y="-20328"/>
            <a:ext cx="0" cy="7848000"/>
          </a:xfrm>
          <a:prstGeom prst="line">
            <a:avLst/>
          </a:prstGeom>
          <a:ln w="38100">
            <a:solidFill>
              <a:schemeClr val="bg2">
                <a:lumMod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2">
            <a:extLst>
              <a:ext uri="{FF2B5EF4-FFF2-40B4-BE49-F238E27FC236}">
                <a16:creationId xmlns:a16="http://schemas.microsoft.com/office/drawing/2014/main" id="{E3E8BED3-EA75-AC25-DA4C-CFA52DD17449}"/>
              </a:ext>
            </a:extLst>
          </p:cNvPr>
          <p:cNvSpPr txBox="1">
            <a:spLocks/>
          </p:cNvSpPr>
          <p:nvPr/>
        </p:nvSpPr>
        <p:spPr>
          <a:xfrm>
            <a:off x="2064600" y="441870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Рамка для профессионального мастерства в ПОО</a:t>
            </a:r>
          </a:p>
        </p:txBody>
      </p:sp>
    </p:spTree>
    <p:extLst>
      <p:ext uri="{BB962C8B-B14F-4D97-AF65-F5344CB8AC3E}">
        <p14:creationId xmlns:p14="http://schemas.microsoft.com/office/powerpoint/2010/main" val="422287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A993BB-13CE-AFEB-4B40-80FC21E80C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22D9039-E6B3-C792-6F2D-C1B77EC5B8C4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02DEE8FA-0FAC-5225-EEF8-04047BD996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173DF4E4-C993-08F8-AFE7-8C5AE868BF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6272CA-6F59-12FE-F5DD-4528F3FAE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12F93A-8B66-F8E3-476A-DA4906EABA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DBD7412-23D5-F86B-29C4-3FD2E0A732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10CE4D39-36AD-FAB2-313B-D6158655C1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C9637E15-D6AB-D017-15D1-89A6A3AF58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DDC6F9EF-2A20-DF8D-C3E5-C30FB290D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139" y="1168065"/>
            <a:ext cx="6696744" cy="3407803"/>
          </a:xfrm>
        </p:spPr>
        <p:txBody>
          <a:bodyPr>
            <a:noAutofit/>
          </a:bodyPr>
          <a:lstStyle/>
          <a:p>
            <a:pPr algn="ctr"/>
            <a:r>
              <a:rPr lang="ru-RU" sz="3600" b="1">
                <a:cs typeface="Arial"/>
              </a:rPr>
              <a:t>Реализация</a:t>
            </a:r>
            <a:br>
              <a:rPr lang="ru-RU" sz="3600" b="1">
                <a:cs typeface="Arial"/>
              </a:rPr>
            </a:br>
            <a:r>
              <a:rPr lang="ru-RU" sz="3600" b="1">
                <a:solidFill>
                  <a:srgbClr val="38B6AB"/>
                </a:solidFill>
                <a:cs typeface="Arial"/>
              </a:rPr>
              <a:t>ISATCOVE</a:t>
            </a:r>
            <a:br>
              <a:rPr lang="en-GB" sz="3600"/>
            </a:br>
            <a:endParaRPr lang="en-GB" sz="4000">
              <a:solidFill>
                <a:schemeClr val="accent2"/>
              </a:solidFill>
            </a:endParaRP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2DCE463F-88D3-BE6E-FEA2-D3ED31E3D8B4}"/>
              </a:ext>
            </a:extLst>
          </p:cNvPr>
          <p:cNvSpPr txBox="1">
            <a:spLocks/>
          </p:cNvSpPr>
          <p:nvPr/>
        </p:nvSpPr>
        <p:spPr>
          <a:xfrm>
            <a:off x="832419" y="3424270"/>
            <a:ext cx="5892296" cy="187858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36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Implementing</a:t>
            </a:r>
            <a:r>
              <a:rPr lang="en-GB" sz="3600">
                <a:solidFill>
                  <a:srgbClr val="38B6AB"/>
                </a:solidFill>
                <a:cs typeface="Arial"/>
              </a:rPr>
              <a:t> </a:t>
            </a:r>
            <a:endParaRPr lang="en-US" sz="3600"/>
          </a:p>
          <a:p>
            <a:pPr algn="ctr"/>
            <a:r>
              <a:rPr lang="en-GB" sz="3600">
                <a:solidFill>
                  <a:srgbClr val="38B6AB"/>
                </a:solidFill>
                <a:cs typeface="Arial"/>
              </a:rPr>
              <a:t>ISATCOVE</a:t>
            </a:r>
            <a:endParaRPr lang="en-GB" sz="3600"/>
          </a:p>
        </p:txBody>
      </p:sp>
    </p:spTree>
    <p:extLst>
      <p:ext uri="{BB962C8B-B14F-4D97-AF65-F5344CB8AC3E}">
        <p14:creationId xmlns:p14="http://schemas.microsoft.com/office/powerpoint/2010/main" val="31075813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ACC69-EB12-0D4E-26CB-D853160D0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A8B69D1E-E9B6-03B0-0385-8118B606E6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CAA4782-DDD2-C80E-6F4F-F94E239AF05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4FDE5F1-51EF-B91C-0503-4AAAFBBD5072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3932FB4-BFB2-349E-6FDD-C83BB472844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6CF41A2-4220-A3D9-8967-4C6DA2F9EAAD}"/>
              </a:ext>
            </a:extLst>
          </p:cNvPr>
          <p:cNvSpPr txBox="1">
            <a:spLocks/>
          </p:cNvSpPr>
          <p:nvPr/>
        </p:nvSpPr>
        <p:spPr>
          <a:xfrm>
            <a:off x="2064600" y="441870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Процесс</a:t>
            </a:r>
            <a:r>
              <a:rPr lang="en-GB">
                <a:solidFill>
                  <a:srgbClr val="000000"/>
                </a:solidFill>
              </a:rPr>
              <a:t> ISATCOVE </a:t>
            </a:r>
          </a:p>
        </p:txBody>
      </p:sp>
      <p:pic>
        <p:nvPicPr>
          <p:cNvPr id="4" name="Google Shape;219;p6">
            <a:extLst>
              <a:ext uri="{FF2B5EF4-FFF2-40B4-BE49-F238E27FC236}">
                <a16:creationId xmlns:a16="http://schemas.microsoft.com/office/drawing/2014/main" id="{AE710943-E529-5AAF-9F2B-5479CEE58E74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1997" t="2475" r="5694"/>
          <a:stretch/>
        </p:blipFill>
        <p:spPr>
          <a:xfrm>
            <a:off x="11768" y="2803181"/>
            <a:ext cx="3996000" cy="2196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292B510F-C29E-13DC-B39E-CBEBC0157419}"/>
              </a:ext>
            </a:extLst>
          </p:cNvPr>
          <p:cNvGrpSpPr/>
          <p:nvPr/>
        </p:nvGrpSpPr>
        <p:grpSpPr>
          <a:xfrm>
            <a:off x="4442541" y="1885753"/>
            <a:ext cx="5582317" cy="3921720"/>
            <a:chOff x="3608645" y="1268760"/>
            <a:chExt cx="5582317" cy="392172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6D6F958-43CB-8DBC-C56E-8611C05AF9B0}"/>
                </a:ext>
              </a:extLst>
            </p:cNvPr>
            <p:cNvGrpSpPr/>
            <p:nvPr/>
          </p:nvGrpSpPr>
          <p:grpSpPr>
            <a:xfrm>
              <a:off x="3608645" y="1268760"/>
              <a:ext cx="5582317" cy="864000"/>
              <a:chOff x="156367" y="1368638"/>
              <a:chExt cx="3559723" cy="120469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CBE4ECC8-4F33-0565-F3C3-551AF81CE95E}"/>
                  </a:ext>
                </a:extLst>
              </p:cNvPr>
              <p:cNvSpPr/>
              <p:nvPr/>
            </p:nvSpPr>
            <p:spPr>
              <a:xfrm>
                <a:off x="1423589" y="1368638"/>
                <a:ext cx="2283528" cy="100391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18" name="Arrow: Pentagon 17">
                <a:extLst>
                  <a:ext uri="{FF2B5EF4-FFF2-40B4-BE49-F238E27FC236}">
                    <a16:creationId xmlns:a16="http://schemas.microsoft.com/office/drawing/2014/main" id="{663C53E4-9163-6566-8AB1-EC4DCBA75A03}"/>
                  </a:ext>
                </a:extLst>
              </p:cNvPr>
              <p:cNvSpPr/>
              <p:nvPr/>
            </p:nvSpPr>
            <p:spPr>
              <a:xfrm rot="5400000">
                <a:off x="160443" y="1364562"/>
                <a:ext cx="1204698" cy="1212850"/>
              </a:xfrm>
              <a:prstGeom prst="homePlate">
                <a:avLst>
                  <a:gd name="adj" fmla="val 21648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8BDA775-5ABF-DD0E-A953-2BD50A7E1E08}"/>
                  </a:ext>
                </a:extLst>
              </p:cNvPr>
              <p:cNvSpPr txBox="1"/>
              <p:nvPr/>
            </p:nvSpPr>
            <p:spPr>
              <a:xfrm>
                <a:off x="156367" y="1628697"/>
                <a:ext cx="1212850" cy="557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i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ЭТАП</a:t>
                </a:r>
                <a:r>
                  <a:rPr lang="en-GB" sz="2000" i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0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EDE1844-958B-BE73-24A8-CFCCA16CF6CE}"/>
                  </a:ext>
                </a:extLst>
              </p:cNvPr>
              <p:cNvSpPr txBox="1"/>
              <p:nvPr/>
            </p:nvSpPr>
            <p:spPr>
              <a:xfrm>
                <a:off x="1432560" y="1661472"/>
                <a:ext cx="2283530" cy="55788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ru-RU" sz="200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Ознакомление</a:t>
                </a:r>
                <a:endParaRPr lang="en-US" sz="1600">
                  <a:solidFill>
                    <a:schemeClr val="tx1">
                      <a:lumMod val="65000"/>
                      <a:lumOff val="35000"/>
                    </a:schemeClr>
                  </a:solidFill>
                  <a:ea typeface="Calibri" panose="020F0502020204030204"/>
                  <a:cs typeface="Calibri" panose="020F0502020204030204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F4BD8B6-BC23-975A-4A6A-015878DD776E}"/>
                </a:ext>
              </a:extLst>
            </p:cNvPr>
            <p:cNvGrpSpPr/>
            <p:nvPr/>
          </p:nvGrpSpPr>
          <p:grpSpPr>
            <a:xfrm>
              <a:off x="3608646" y="2124698"/>
              <a:ext cx="5582314" cy="989617"/>
              <a:chOff x="156367" y="2269691"/>
              <a:chExt cx="3559721" cy="1379844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6201CFD-69FA-0B38-1237-2E3E15C1AD4F}"/>
                  </a:ext>
                </a:extLst>
              </p:cNvPr>
              <p:cNvSpPr/>
              <p:nvPr/>
            </p:nvSpPr>
            <p:spPr>
              <a:xfrm>
                <a:off x="1410965" y="2285921"/>
                <a:ext cx="2283527" cy="100800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33" name="Arrow: Chevron 32">
                <a:extLst>
                  <a:ext uri="{FF2B5EF4-FFF2-40B4-BE49-F238E27FC236}">
                    <a16:creationId xmlns:a16="http://schemas.microsoft.com/office/drawing/2014/main" id="{E51DD04C-6ADD-12BA-D6CD-B101A07F1DBC}"/>
                  </a:ext>
                </a:extLst>
              </p:cNvPr>
              <p:cNvSpPr/>
              <p:nvPr/>
            </p:nvSpPr>
            <p:spPr>
              <a:xfrm rot="5400000">
                <a:off x="132792" y="2293266"/>
                <a:ext cx="1260000" cy="1212850"/>
              </a:xfrm>
              <a:prstGeom prst="chevron">
                <a:avLst>
                  <a:gd name="adj" fmla="val 20079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3CBBDF6A-DDF8-8552-4F6A-4E61BAC018C2}"/>
                  </a:ext>
                </a:extLst>
              </p:cNvPr>
              <p:cNvSpPr txBox="1"/>
              <p:nvPr/>
            </p:nvSpPr>
            <p:spPr>
              <a:xfrm>
                <a:off x="156367" y="2715024"/>
                <a:ext cx="1212850" cy="5578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i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ЭТАП</a:t>
                </a:r>
                <a:r>
                  <a:rPr lang="en-GB" sz="2000" i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1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FC10EC0-64E3-D4A6-E656-2FE39989DB50}"/>
                  </a:ext>
                </a:extLst>
              </p:cNvPr>
              <p:cNvSpPr txBox="1"/>
              <p:nvPr/>
            </p:nvSpPr>
            <p:spPr>
              <a:xfrm>
                <a:off x="1432560" y="2319203"/>
                <a:ext cx="2283528" cy="133033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ru-RU" sz="200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Подготовка, планирование, проектирование</a:t>
                </a:r>
                <a:endParaRPr lang="en-GB" sz="20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>
                  <a:buClr>
                    <a:schemeClr val="accent1"/>
                  </a:buClr>
                </a:pPr>
                <a:endParaRPr lang="en-US" sz="1600">
                  <a:solidFill>
                    <a:schemeClr val="tx1">
                      <a:lumMod val="65000"/>
                      <a:lumOff val="35000"/>
                    </a:schemeClr>
                  </a:solidFill>
                  <a:ea typeface="Calibri" panose="020F0502020204030204"/>
                  <a:cs typeface="Calibri" panose="020F0502020204030204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DBD63841-2655-CBF2-EDD1-2922BB647408}"/>
                </a:ext>
              </a:extLst>
            </p:cNvPr>
            <p:cNvGrpSpPr/>
            <p:nvPr/>
          </p:nvGrpSpPr>
          <p:grpSpPr>
            <a:xfrm>
              <a:off x="3608646" y="2996952"/>
              <a:ext cx="5582316" cy="903664"/>
              <a:chOff x="156367" y="3337084"/>
              <a:chExt cx="3559722" cy="1260000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87B068F-98DA-DA5D-737F-F35AB96516E2}"/>
                  </a:ext>
                </a:extLst>
              </p:cNvPr>
              <p:cNvSpPr/>
              <p:nvPr/>
            </p:nvSpPr>
            <p:spPr>
              <a:xfrm>
                <a:off x="1423587" y="3347875"/>
                <a:ext cx="2283528" cy="1008000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42" name="Arrow: Chevron 41">
                <a:extLst>
                  <a:ext uri="{FF2B5EF4-FFF2-40B4-BE49-F238E27FC236}">
                    <a16:creationId xmlns:a16="http://schemas.microsoft.com/office/drawing/2014/main" id="{2C7BB51A-84FC-8741-6587-F07211A5E3FA}"/>
                  </a:ext>
                </a:extLst>
              </p:cNvPr>
              <p:cNvSpPr/>
              <p:nvPr/>
            </p:nvSpPr>
            <p:spPr>
              <a:xfrm rot="5400000">
                <a:off x="132792" y="3360659"/>
                <a:ext cx="1260000" cy="1212850"/>
              </a:xfrm>
              <a:prstGeom prst="chevron">
                <a:avLst>
                  <a:gd name="adj" fmla="val 20079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D5FB38D-9ABD-3AAF-35B9-9812196EDB0E}"/>
                  </a:ext>
                </a:extLst>
              </p:cNvPr>
              <p:cNvSpPr txBox="1"/>
              <p:nvPr/>
            </p:nvSpPr>
            <p:spPr>
              <a:xfrm>
                <a:off x="156367" y="3730318"/>
                <a:ext cx="1212850" cy="5578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i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ЭТАП</a:t>
                </a:r>
                <a:r>
                  <a:rPr lang="en-GB" sz="2000" i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2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93256C73-48D0-BC5F-5BEA-A948A636E58F}"/>
                  </a:ext>
                </a:extLst>
              </p:cNvPr>
              <p:cNvSpPr txBox="1"/>
              <p:nvPr/>
            </p:nvSpPr>
            <p:spPr>
              <a:xfrm>
                <a:off x="1410965" y="3592153"/>
                <a:ext cx="2305124" cy="55788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ru-RU" sz="200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Проведение самооценки</a:t>
                </a:r>
                <a:endParaRPr lang="en-GB" sz="2000">
                  <a:solidFill>
                    <a:schemeClr val="tx1">
                      <a:lumMod val="65000"/>
                      <a:lumOff val="35000"/>
                    </a:schemeClr>
                  </a:solidFill>
                  <a:ea typeface="Calibri" panose="020F0502020204030204"/>
                  <a:cs typeface="Calibri" panose="020F0502020204030204"/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D2B2B2A-8AA7-F1A5-008F-E97B173A2C14}"/>
                </a:ext>
              </a:extLst>
            </p:cNvPr>
            <p:cNvGrpSpPr/>
            <p:nvPr/>
          </p:nvGrpSpPr>
          <p:grpSpPr>
            <a:xfrm>
              <a:off x="3608645" y="3861048"/>
              <a:ext cx="5582314" cy="903664"/>
              <a:chOff x="156367" y="4404477"/>
              <a:chExt cx="3559721" cy="1260000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82A78B66-4BD4-F5CE-EFAB-BD8581A99DE2}"/>
                  </a:ext>
                </a:extLst>
              </p:cNvPr>
              <p:cNvSpPr/>
              <p:nvPr/>
            </p:nvSpPr>
            <p:spPr>
              <a:xfrm>
                <a:off x="1423588" y="4411008"/>
                <a:ext cx="2283528" cy="10080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49" name="Arrow: Chevron 48">
                <a:extLst>
                  <a:ext uri="{FF2B5EF4-FFF2-40B4-BE49-F238E27FC236}">
                    <a16:creationId xmlns:a16="http://schemas.microsoft.com/office/drawing/2014/main" id="{DFF1BEAE-12D1-4CC8-CC21-BFE88AB7BF2E}"/>
                  </a:ext>
                </a:extLst>
              </p:cNvPr>
              <p:cNvSpPr/>
              <p:nvPr/>
            </p:nvSpPr>
            <p:spPr>
              <a:xfrm rot="5400000">
                <a:off x="132792" y="4428052"/>
                <a:ext cx="1260000" cy="1212850"/>
              </a:xfrm>
              <a:prstGeom prst="chevron">
                <a:avLst>
                  <a:gd name="adj" fmla="val 20079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357987C6-626E-2B2D-FF24-AA35510C64A6}"/>
                  </a:ext>
                </a:extLst>
              </p:cNvPr>
              <p:cNvSpPr txBox="1"/>
              <p:nvPr/>
            </p:nvSpPr>
            <p:spPr>
              <a:xfrm>
                <a:off x="156367" y="4767637"/>
                <a:ext cx="1212850" cy="5578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i="1">
                    <a:solidFill>
                      <a:schemeClr val="bg1"/>
                    </a:solidFill>
                  </a:rPr>
                  <a:t>ЭТАП</a:t>
                </a:r>
                <a:r>
                  <a:rPr lang="en-GB" sz="2000" i="1">
                    <a:solidFill>
                      <a:schemeClr val="bg1"/>
                    </a:solidFill>
                  </a:rPr>
                  <a:t> 3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F2DCE6EE-F898-FB56-60BB-A8EE245C194B}"/>
                  </a:ext>
                </a:extLst>
              </p:cNvPr>
              <p:cNvSpPr txBox="1"/>
              <p:nvPr/>
            </p:nvSpPr>
            <p:spPr>
              <a:xfrm>
                <a:off x="1441533" y="4666894"/>
                <a:ext cx="2274555" cy="55788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ru-RU" sz="2000">
                    <a:solidFill>
                      <a:schemeClr val="bg1"/>
                    </a:solidFill>
                  </a:rPr>
                  <a:t>Мониторинг и развитие</a:t>
                </a:r>
                <a:endParaRPr lang="en-US" sz="1600"/>
              </a:p>
            </p:txBody>
          </p: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56952E2-2911-B7A8-8CBC-4DDEAC6D5FC8}"/>
                </a:ext>
              </a:extLst>
            </p:cNvPr>
            <p:cNvSpPr txBox="1"/>
            <p:nvPr/>
          </p:nvSpPr>
          <p:spPr>
            <a:xfrm>
              <a:off x="3608646" y="4924017"/>
              <a:ext cx="1901977" cy="2664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000" i="1">
                  <a:solidFill>
                    <a:schemeClr val="bg1"/>
                  </a:solidFill>
                </a:rPr>
                <a:t>STAGE 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385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47EC0F-1F0F-0CBC-2483-6B65D01F72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06C309AC-5FAA-9AA8-338B-BF226DF063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5F096AA-FB08-42E6-BBF8-FF6A4FE578D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E90BFED-F306-1892-81C8-44185C29E404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1B12FE42-ABE6-5A50-BA6C-F3BC3EF059B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0AFAD96-D53C-A6C0-9FD2-D713F13432DF}"/>
              </a:ext>
            </a:extLst>
          </p:cNvPr>
          <p:cNvSpPr txBox="1">
            <a:spLocks/>
          </p:cNvSpPr>
          <p:nvPr/>
        </p:nvSpPr>
        <p:spPr>
          <a:xfrm>
            <a:off x="2435284" y="358156"/>
            <a:ext cx="8500893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Ознакомление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328A1A-F766-0390-BC2A-B5277EDBB296}"/>
              </a:ext>
            </a:extLst>
          </p:cNvPr>
          <p:cNvGrpSpPr/>
          <p:nvPr/>
        </p:nvGrpSpPr>
        <p:grpSpPr>
          <a:xfrm>
            <a:off x="2679777" y="1723483"/>
            <a:ext cx="7543998" cy="4367427"/>
            <a:chOff x="4092550" y="1745653"/>
            <a:chExt cx="7543998" cy="4367427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1084187-36E3-39F0-846E-2CC042C12230}"/>
                </a:ext>
              </a:extLst>
            </p:cNvPr>
            <p:cNvSpPr txBox="1"/>
            <p:nvPr/>
          </p:nvSpPr>
          <p:spPr>
            <a:xfrm>
              <a:off x="5470875" y="1745653"/>
              <a:ext cx="6165673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Изучить параметры, критерии, индикаторы и лучшие практики ISATCOVE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Ознакомиться с функционалом </a:t>
              </a:r>
              <a:r>
                <a:rPr lang="en-GB" sz="2000"/>
                <a:t>ISATCOV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9877C3B-3806-D2EC-BEDE-F49ED420D6B4}"/>
                </a:ext>
              </a:extLst>
            </p:cNvPr>
            <p:cNvSpPr txBox="1"/>
            <p:nvPr/>
          </p:nvSpPr>
          <p:spPr>
            <a:xfrm>
              <a:off x="4092550" y="4789641"/>
              <a:ext cx="6512567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Ознакомиться с руководящими материалами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Принять участие в сессиях ISATCOVE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Изучить демонстрационную версию </a:t>
              </a:r>
              <a:r>
                <a:rPr lang="en-GB" sz="2000"/>
                <a:t>ISATCOVE</a:t>
              </a:r>
              <a:endParaRPr lang="ru-RU" sz="2000"/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Задать вопросы команде проекта </a:t>
              </a:r>
              <a:r>
                <a:rPr lang="ru-RU" sz="2000" err="1"/>
                <a:t>IntVE</a:t>
              </a:r>
              <a:endParaRPr lang="en-GB" sz="20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EA1859C-8C71-770B-7581-5ED670142AB5}"/>
                </a:ext>
              </a:extLst>
            </p:cNvPr>
            <p:cNvSpPr txBox="1"/>
            <p:nvPr/>
          </p:nvSpPr>
          <p:spPr>
            <a:xfrm>
              <a:off x="4092550" y="1892815"/>
              <a:ext cx="1116000" cy="40011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Ч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19B0CC0-4CBB-743E-A685-CCC56FB4A536}"/>
                </a:ext>
              </a:extLst>
            </p:cNvPr>
            <p:cNvSpPr txBox="1"/>
            <p:nvPr/>
          </p:nvSpPr>
          <p:spPr>
            <a:xfrm>
              <a:off x="4114540" y="4143393"/>
              <a:ext cx="1116000" cy="40011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АК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42CF266-7337-D685-B484-D829DD00DCDC}"/>
                </a:ext>
              </a:extLst>
            </p:cNvPr>
            <p:cNvSpPr txBox="1"/>
            <p:nvPr/>
          </p:nvSpPr>
          <p:spPr>
            <a:xfrm>
              <a:off x="4106405" y="3104674"/>
              <a:ext cx="1116000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D8F91F2-EB37-EB3A-3C4D-0075BB3FC973}"/>
                </a:ext>
              </a:extLst>
            </p:cNvPr>
            <p:cNvSpPr txBox="1"/>
            <p:nvPr/>
          </p:nvSpPr>
          <p:spPr>
            <a:xfrm>
              <a:off x="5470874" y="2996952"/>
              <a:ext cx="6165673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Руководство образовательной организации / лица, принимающие решения</a:t>
              </a:r>
            </a:p>
            <a:p>
              <a:pPr marL="342900" indent="-34290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Потенциальные члены команды самооценки (КС)</a:t>
              </a:r>
              <a:endParaRPr lang="en-US" sz="200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0D69877-22EB-293E-44B6-0A10A9FA25F5}"/>
              </a:ext>
            </a:extLst>
          </p:cNvPr>
          <p:cNvGrpSpPr/>
          <p:nvPr/>
        </p:nvGrpSpPr>
        <p:grpSpPr>
          <a:xfrm>
            <a:off x="551384" y="301383"/>
            <a:ext cx="1901978" cy="705517"/>
            <a:chOff x="367312" y="1881965"/>
            <a:chExt cx="1901978" cy="705517"/>
          </a:xfrm>
        </p:grpSpPr>
        <p:sp>
          <p:nvSpPr>
            <p:cNvPr id="12" name="Arrow: Pentagon 11">
              <a:extLst>
                <a:ext uri="{FF2B5EF4-FFF2-40B4-BE49-F238E27FC236}">
                  <a16:creationId xmlns:a16="http://schemas.microsoft.com/office/drawing/2014/main" id="{E3AE3170-D1BA-C443-FF5D-CC24C2EC7440}"/>
                </a:ext>
              </a:extLst>
            </p:cNvPr>
            <p:cNvSpPr/>
            <p:nvPr/>
          </p:nvSpPr>
          <p:spPr>
            <a:xfrm rot="5400000">
              <a:off x="946304" y="1582298"/>
              <a:ext cx="705517" cy="1304851"/>
            </a:xfrm>
            <a:prstGeom prst="homePlate">
              <a:avLst>
                <a:gd name="adj" fmla="val 2164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85DAE9A-F11D-6A07-450B-79C2E40628D3}"/>
                </a:ext>
              </a:extLst>
            </p:cNvPr>
            <p:cNvSpPr txBox="1"/>
            <p:nvPr/>
          </p:nvSpPr>
          <p:spPr>
            <a:xfrm>
              <a:off x="367312" y="1985246"/>
              <a:ext cx="190197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 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809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F0B70-4D61-8D6A-05FE-22286EE61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B133CB83-5768-583E-38C5-DA8F3C840B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A06F1C7-D109-8255-101C-B7BB5C36DBF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D85EE3E-9239-C85B-B397-9431B74330A9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B843718-1A73-545B-359D-F57FF2E2961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F288D14-737B-5681-4C5C-0E78589E6F7D}"/>
              </a:ext>
            </a:extLst>
          </p:cNvPr>
          <p:cNvSpPr txBox="1">
            <a:spLocks/>
          </p:cNvSpPr>
          <p:nvPr/>
        </p:nvSpPr>
        <p:spPr>
          <a:xfrm>
            <a:off x="2411942" y="336540"/>
            <a:ext cx="7514255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Подготовка, планирование, проектирование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7C37AC-C339-3CD1-D45C-5593AD319026}"/>
              </a:ext>
            </a:extLst>
          </p:cNvPr>
          <p:cNvGrpSpPr/>
          <p:nvPr/>
        </p:nvGrpSpPr>
        <p:grpSpPr>
          <a:xfrm>
            <a:off x="2678708" y="1797784"/>
            <a:ext cx="7953796" cy="3955216"/>
            <a:chOff x="4092550" y="1778040"/>
            <a:chExt cx="7953796" cy="3955216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E0B8741-4F1C-5245-ABD4-BAB0B10F917C}"/>
                </a:ext>
              </a:extLst>
            </p:cNvPr>
            <p:cNvSpPr txBox="1"/>
            <p:nvPr/>
          </p:nvSpPr>
          <p:spPr>
            <a:xfrm>
              <a:off x="5470875" y="1778040"/>
              <a:ext cx="6575471" cy="16312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Назначить команду  по самооценке  </a:t>
              </a:r>
              <a:r>
                <a:rPr lang="en-US" sz="2000" b="1">
                  <a:solidFill>
                    <a:schemeClr val="accent2">
                      <a:lumMod val="75000"/>
                    </a:schemeClr>
                  </a:solidFill>
                </a:rPr>
                <a:t>(</a:t>
              </a:r>
              <a:r>
                <a:rPr lang="ru-RU" sz="2000" b="1">
                  <a:solidFill>
                    <a:schemeClr val="accent2">
                      <a:lumMod val="75000"/>
                    </a:schemeClr>
                  </a:solidFill>
                </a:rPr>
                <a:t>КС</a:t>
              </a:r>
              <a:r>
                <a:rPr lang="en-US" sz="2000" b="1">
                  <a:solidFill>
                    <a:schemeClr val="accent2">
                      <a:lumMod val="75000"/>
                    </a:schemeClr>
                  </a:solidFill>
                </a:rPr>
                <a:t>)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Спланировать процесс самооценки</a:t>
              </a:r>
              <a:endParaRPr lang="en-GB" sz="2000"/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Выбрать критерии и индикаторы для самооценки</a:t>
              </a:r>
              <a:endParaRPr lang="en-US" sz="2000"/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endParaRPr lang="en-GB" sz="2000"/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endParaRPr lang="en-GB" sz="20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679DD93-8FA5-1A46-B603-7C32F2DEDC12}"/>
                </a:ext>
              </a:extLst>
            </p:cNvPr>
            <p:cNvSpPr txBox="1"/>
            <p:nvPr/>
          </p:nvSpPr>
          <p:spPr>
            <a:xfrm>
              <a:off x="4092550" y="1892815"/>
              <a:ext cx="1116000" cy="40011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Ч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B3DB77B-BA2B-FF89-14A0-0DF2BCB7FAF6}"/>
                </a:ext>
              </a:extLst>
            </p:cNvPr>
            <p:cNvSpPr txBox="1"/>
            <p:nvPr/>
          </p:nvSpPr>
          <p:spPr>
            <a:xfrm>
              <a:off x="4129245" y="4429652"/>
              <a:ext cx="1116000" cy="40011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АК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BDDE4DD-54B1-7C32-1354-9889F3D6B6B3}"/>
                </a:ext>
              </a:extLst>
            </p:cNvPr>
            <p:cNvSpPr txBox="1"/>
            <p:nvPr/>
          </p:nvSpPr>
          <p:spPr>
            <a:xfrm>
              <a:off x="4106405" y="3228946"/>
              <a:ext cx="1116000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5E6E980-83EE-DEB2-528B-26C59ECC07DF}"/>
                </a:ext>
              </a:extLst>
            </p:cNvPr>
            <p:cNvSpPr txBox="1"/>
            <p:nvPr/>
          </p:nvSpPr>
          <p:spPr>
            <a:xfrm>
              <a:off x="5470874" y="3121224"/>
              <a:ext cx="6575471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Руководство образовательной организации / лица, принимающие решения</a:t>
              </a:r>
            </a:p>
            <a:p>
              <a:pPr marL="342900" indent="-34290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Потенциальные члены команды самооценки (КС)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1F1C3E5-99B3-E3EB-EA46-A0C4E172A342}"/>
                </a:ext>
              </a:extLst>
            </p:cNvPr>
            <p:cNvSpPr txBox="1"/>
            <p:nvPr/>
          </p:nvSpPr>
          <p:spPr>
            <a:xfrm>
              <a:off x="4092550" y="5025370"/>
              <a:ext cx="7404050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Обсудить процесс со всеми ключевыми участниками образовательного процесса</a:t>
              </a:r>
              <a:endParaRPr lang="en-GB" sz="20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C623C4B-7B73-14FA-76BA-1F62E541CE1B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831FD455-92E0-58D0-CE4F-1F0E9A0C52D7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07ABAEF-F457-FC72-26BE-3FA41BE9ABCD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 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190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F490F-238B-0580-020F-59254AA139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785736FE-5C03-E417-51B1-DB608960C3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1345C84-A59C-7A75-0DDE-C08B8CAB03A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73218-664B-23AC-1D37-C53C131B3385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2CB16AF-5821-5933-3C94-F81BD910EC0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9BC9F60-714A-3720-2ADA-F4F437F13861}"/>
              </a:ext>
            </a:extLst>
          </p:cNvPr>
          <p:cNvSpPr txBox="1"/>
          <p:nvPr/>
        </p:nvSpPr>
        <p:spPr>
          <a:xfrm>
            <a:off x="4223792" y="1302742"/>
            <a:ext cx="61656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Назначить команду по самооценке </a:t>
            </a:r>
            <a:r>
              <a:rPr lang="en-US" sz="2000" b="1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2000" b="1">
                <a:solidFill>
                  <a:schemeClr val="accent2">
                    <a:lumMod val="75000"/>
                  </a:schemeClr>
                </a:solidFill>
              </a:rPr>
              <a:t>КС</a:t>
            </a:r>
            <a:r>
              <a:rPr lang="en-US" sz="2000" b="1">
                <a:solidFill>
                  <a:schemeClr val="accent2">
                    <a:lumMod val="75000"/>
                  </a:schemeClr>
                </a:solidFill>
              </a:rPr>
              <a:t>)</a:t>
            </a:r>
            <a:endParaRPr lang="en-GB" sz="2000"/>
          </a:p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en-GB" sz="2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263E20-0993-C050-DD1F-D7E4118536F5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29EC5CA-0B45-F149-8D3A-6A4140B91CAE}"/>
              </a:ext>
            </a:extLst>
          </p:cNvPr>
          <p:cNvSpPr txBox="1">
            <a:spLocks/>
          </p:cNvSpPr>
          <p:nvPr/>
        </p:nvSpPr>
        <p:spPr>
          <a:xfrm>
            <a:off x="6727787" y="2391475"/>
            <a:ext cx="4498809" cy="32105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ормировать график</a:t>
            </a:r>
            <a:endParaRPr lang="ru-RU" sz="1800">
              <a:solidFill>
                <a:srgbClr val="44546A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сти самооценку</a:t>
            </a:r>
            <a:endParaRPr lang="ru-RU" sz="1800">
              <a:solidFill>
                <a:srgbClr val="44546A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ь заинтересованные стороны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ть качественные и количественные индикаторы</a:t>
            </a:r>
            <a:r>
              <a:rPr lang="en-US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анализировать доказательства и сформировать суждения</a:t>
            </a:r>
            <a:r>
              <a:rPr lang="en-US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80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целевые показатели и разработать планы улучшений</a:t>
            </a:r>
            <a:endParaRPr lang="en-GB"/>
          </a:p>
        </p:txBody>
      </p:sp>
      <p:sp>
        <p:nvSpPr>
          <p:cNvPr id="22" name="Google Shape;237;p8">
            <a:extLst>
              <a:ext uri="{FF2B5EF4-FFF2-40B4-BE49-F238E27FC236}">
                <a16:creationId xmlns:a16="http://schemas.microsoft.com/office/drawing/2014/main" id="{F6C6996C-B628-2071-F1A1-4C5A7DC8AECA}"/>
              </a:ext>
            </a:extLst>
          </p:cNvPr>
          <p:cNvSpPr txBox="1"/>
          <p:nvPr/>
        </p:nvSpPr>
        <p:spPr>
          <a:xfrm>
            <a:off x="6727787" y="1839907"/>
            <a:ext cx="4570952" cy="536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rtl="0">
              <a:lnSpc>
                <a:spcPct val="10937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 b="1">
                <a:latin typeface="Montserrat Black"/>
                <a:ea typeface="Montserrat Black"/>
                <a:cs typeface="Montserrat Black"/>
                <a:sym typeface="Montserrat Black"/>
              </a:rPr>
              <a:t> </a:t>
            </a:r>
            <a:r>
              <a:rPr lang="ru-RU"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lack"/>
              </a:rPr>
              <a:t>Каковы функции КС</a:t>
            </a:r>
            <a:r>
              <a:rPr lang="en-GB"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lack"/>
              </a:rPr>
              <a:t>?</a:t>
            </a:r>
            <a:endParaRPr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Montserrat Black"/>
            </a:endParaRPr>
          </a:p>
        </p:txBody>
      </p:sp>
      <p:sp>
        <p:nvSpPr>
          <p:cNvPr id="23" name="Google Shape;237;p8">
            <a:extLst>
              <a:ext uri="{FF2B5EF4-FFF2-40B4-BE49-F238E27FC236}">
                <a16:creationId xmlns:a16="http://schemas.microsoft.com/office/drawing/2014/main" id="{58939E77-959E-EE22-1036-6E98E44C84A0}"/>
              </a:ext>
            </a:extLst>
          </p:cNvPr>
          <p:cNvSpPr txBox="1"/>
          <p:nvPr/>
        </p:nvSpPr>
        <p:spPr>
          <a:xfrm>
            <a:off x="893261" y="1833478"/>
            <a:ext cx="2481103" cy="536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rtl="0">
              <a:lnSpc>
                <a:spcPct val="10937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 b="1">
                <a:latin typeface="Montserrat Black"/>
                <a:ea typeface="Montserrat Black"/>
                <a:cs typeface="Montserrat Black"/>
                <a:sym typeface="Montserrat Black"/>
              </a:rPr>
              <a:t> </a:t>
            </a:r>
            <a:r>
              <a:rPr lang="ru-RU"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lack"/>
              </a:rPr>
              <a:t>Кого включить</a:t>
            </a:r>
            <a:r>
              <a:rPr lang="en-GB"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lack"/>
              </a:rPr>
              <a:t>?</a:t>
            </a:r>
            <a:endParaRPr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Montserrat Black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99D4EF-2EB0-499F-297B-700CA3B79614}"/>
              </a:ext>
            </a:extLst>
          </p:cNvPr>
          <p:cNvSpPr txBox="1"/>
          <p:nvPr/>
        </p:nvSpPr>
        <p:spPr>
          <a:xfrm>
            <a:off x="814284" y="2197505"/>
            <a:ext cx="5561779" cy="3780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ысшее руководство (директор / заместитель директора)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дминистративный персонал образовательной организации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едставители ключевых внутренних заинтересованных сторон (например, опытные преподаватели)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едставители предприятий или внешних партнёров</a:t>
            </a:r>
            <a:endParaRPr lang="en-GB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AA992291-476F-FA9E-1822-987F38A8854C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8230352" cy="4575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 b="1"/>
              <a:t>Подготовка, планирование, проектирование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A1CB351-AFBC-AA69-E2E8-2B42DD3458CF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29" name="Arrow: Chevron 28">
              <a:extLst>
                <a:ext uri="{FF2B5EF4-FFF2-40B4-BE49-F238E27FC236}">
                  <a16:creationId xmlns:a16="http://schemas.microsoft.com/office/drawing/2014/main" id="{C0F7E788-F374-7887-D312-A363D65EB9AA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B2D67-5E55-0198-CB12-F17ED0C1DE8F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 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9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2B32C-8E5E-48F4-84AB-27A92B94A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8AAFE7BA-3906-64D7-1CC9-340C76E944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1849014-E15C-EE1D-C026-177F161CF65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B455DE0-504E-7C83-22BC-D14D86B5F667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E0CCF79-1B01-3A89-52AE-14927FDAC78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AD77506-7536-A41B-391E-7D15FA0277B3}"/>
              </a:ext>
            </a:extLst>
          </p:cNvPr>
          <p:cNvSpPr txBox="1"/>
          <p:nvPr/>
        </p:nvSpPr>
        <p:spPr>
          <a:xfrm>
            <a:off x="4223792" y="1302742"/>
            <a:ext cx="61656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Спланировать процесс самооценки</a:t>
            </a:r>
            <a:endParaRPr lang="en-GB" sz="2000"/>
          </a:p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endParaRPr lang="en-GB" sz="2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CCD27A-1372-7812-3283-A3B8509D36D1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ADA244-AE09-3DAC-9A51-CA1D4AABECC2}"/>
              </a:ext>
            </a:extLst>
          </p:cNvPr>
          <p:cNvSpPr txBox="1"/>
          <p:nvPr/>
        </p:nvSpPr>
        <p:spPr>
          <a:xfrm>
            <a:off x="1004265" y="2100768"/>
            <a:ext cx="30732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4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Принять во внимание</a:t>
            </a:r>
            <a:r>
              <a:rPr lang="en-US" sz="24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:</a:t>
            </a:r>
            <a:endParaRPr lang="en-GB" sz="2400">
              <a:solidFill>
                <a:schemeClr val="accent2"/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469B5C-3670-7EE1-146A-B3419CF96253}"/>
              </a:ext>
            </a:extLst>
          </p:cNvPr>
          <p:cNvSpPr txBox="1"/>
          <p:nvPr/>
        </p:nvSpPr>
        <p:spPr>
          <a:xfrm>
            <a:off x="1004265" y="2579092"/>
            <a:ext cx="6603903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ние профессионального мастерства</a:t>
            </a:r>
          </a:p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ческое планирование</a:t>
            </a:r>
            <a:endParaRPr lang="en-US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ая программа</a:t>
            </a:r>
            <a:endParaRPr lang="en-US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ые процессы (например, механизмы обеспечения качества)</a:t>
            </a:r>
          </a:p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err="1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д</a:t>
            </a:r>
            <a:r>
              <a:rPr lang="en-US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defTabSz="667512">
              <a:spcAft>
                <a:spcPts val="600"/>
              </a:spcAft>
              <a:buClr>
                <a:schemeClr val="bg1">
                  <a:lumMod val="85000"/>
                </a:schemeClr>
              </a:buClr>
              <a:buFont typeface="Wingdings" panose="05000000000000000000" pitchFamily="2" charset="2"/>
              <a:buChar char="§"/>
            </a:pPr>
            <a:endParaRPr lang="en-US" sz="2000">
              <a:solidFill>
                <a:schemeClr val="tx2"/>
              </a:solidFill>
              <a:latin typeface="Aptos Light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DE5908-962C-53C6-CE55-1302225C94A3}"/>
              </a:ext>
            </a:extLst>
          </p:cNvPr>
          <p:cNvSpPr txBox="1"/>
          <p:nvPr/>
        </p:nvSpPr>
        <p:spPr>
          <a:xfrm>
            <a:off x="7855469" y="2100767"/>
            <a:ext cx="1390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4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Оценить</a:t>
            </a:r>
            <a:r>
              <a:rPr lang="ru-RU" sz="2400" b="1" kern="1200">
                <a:solidFill>
                  <a:schemeClr val="accent2"/>
                </a:solidFill>
                <a:latin typeface="Aptos Light" panose="020B0004020202020204" pitchFamily="34" charset="0"/>
                <a:cs typeface="Arial" panose="020B0604020202020204" pitchFamily="34" charset="0"/>
              </a:rPr>
              <a:t>:</a:t>
            </a:r>
            <a:endParaRPr lang="en-GB" sz="2400" b="1">
              <a:solidFill>
                <a:schemeClr val="accent2"/>
              </a:solidFill>
              <a:latin typeface="Aptos Light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4018CD7-494A-45E4-EFDA-3E65011F739C}"/>
              </a:ext>
            </a:extLst>
          </p:cNvPr>
          <p:cNvGrpSpPr/>
          <p:nvPr/>
        </p:nvGrpSpPr>
        <p:grpSpPr>
          <a:xfrm>
            <a:off x="9415373" y="3709970"/>
            <a:ext cx="2275149" cy="1620000"/>
            <a:chOff x="8778682" y="4542287"/>
            <a:chExt cx="2275149" cy="16200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D33D631-2892-0FCC-558B-417CACD843C1}"/>
                </a:ext>
              </a:extLst>
            </p:cNvPr>
            <p:cNvSpPr/>
            <p:nvPr/>
          </p:nvSpPr>
          <p:spPr>
            <a:xfrm>
              <a:off x="9433831" y="4542287"/>
              <a:ext cx="1620000" cy="1620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rgbClr val="CCD32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>
                  <a:latin typeface="Aptos Light" panose="020B0004020202020204" pitchFamily="34" charset="0"/>
                </a:rPr>
                <a:t>Сроки</a:t>
              </a:r>
              <a:r>
                <a:rPr lang="en-GB" sz="1800">
                  <a:latin typeface="Aptos Light" panose="020B0004020202020204" pitchFamily="34" charset="0"/>
                </a:rPr>
                <a:t>:</a:t>
              </a:r>
            </a:p>
            <a:p>
              <a:pPr algn="ctr"/>
              <a:r>
                <a:rPr lang="en-GB" sz="1800">
                  <a:latin typeface="Aptos Light" panose="020B0004020202020204" pitchFamily="34" charset="0"/>
                </a:rPr>
                <a:t>6-8 </a:t>
              </a:r>
              <a:r>
                <a:rPr lang="ru-RU" sz="1800">
                  <a:latin typeface="Aptos Light" panose="020B0004020202020204" pitchFamily="34" charset="0"/>
                </a:rPr>
                <a:t>недель</a:t>
              </a:r>
              <a:endParaRPr lang="en-GB" sz="1800">
                <a:latin typeface="Aptos Light" panose="020B0004020202020204" pitchFamily="34" charset="0"/>
              </a:endParaRPr>
            </a:p>
            <a:p>
              <a:pPr algn="ctr"/>
              <a:r>
                <a:rPr lang="en-GB" sz="1800">
                  <a:latin typeface="Aptos Light" panose="020B0004020202020204" pitchFamily="34" charset="0"/>
                </a:rPr>
                <a:t>30-40 </a:t>
              </a:r>
              <a:r>
                <a:rPr lang="ru-RU" sz="1800">
                  <a:latin typeface="Aptos Light" panose="020B0004020202020204" pitchFamily="34" charset="0"/>
                </a:rPr>
                <a:t>часов</a:t>
              </a:r>
              <a:endParaRPr lang="en-GB" sz="1800">
                <a:latin typeface="Aptos Light" panose="020B0004020202020204" pitchFamily="34" charset="0"/>
              </a:endParaRPr>
            </a:p>
          </p:txBody>
        </p:sp>
        <p:pic>
          <p:nvPicPr>
            <p:cNvPr id="12" name="Graphic 11" descr="Clock with solid fill">
              <a:extLst>
                <a:ext uri="{FF2B5EF4-FFF2-40B4-BE49-F238E27FC236}">
                  <a16:creationId xmlns:a16="http://schemas.microsoft.com/office/drawing/2014/main" id="{7C77E653-3C82-8498-EF2C-722CCD8B4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78682" y="4756965"/>
              <a:ext cx="1200914" cy="1200914"/>
            </a:xfrm>
            <a:prstGeom prst="rect">
              <a:avLst/>
            </a:prstGeom>
          </p:spPr>
        </p:pic>
      </p:grpSp>
      <p:pic>
        <p:nvPicPr>
          <p:cNvPr id="2050" name="Picture 2" descr="Planning: Meaning, Features, Importance and Limitations - GeeksforGeeks">
            <a:extLst>
              <a:ext uri="{FF2B5EF4-FFF2-40B4-BE49-F238E27FC236}">
                <a16:creationId xmlns:a16="http://schemas.microsoft.com/office/drawing/2014/main" id="{87F48825-A04D-D8A9-D9B5-75F0DACD55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42"/>
          <a:stretch>
            <a:fillRect/>
          </a:stretch>
        </p:blipFill>
        <p:spPr bwMode="auto">
          <a:xfrm>
            <a:off x="3600553" y="4698000"/>
            <a:ext cx="4990893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FFE80BE9-4F0B-7FF9-97FD-F7E3FC4E3737}"/>
              </a:ext>
            </a:extLst>
          </p:cNvPr>
          <p:cNvSpPr txBox="1"/>
          <p:nvPr/>
        </p:nvSpPr>
        <p:spPr>
          <a:xfrm>
            <a:off x="7867657" y="2574993"/>
            <a:ext cx="321974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ы</a:t>
            </a:r>
            <a:endParaRPr lang="en-US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и</a:t>
            </a:r>
            <a:endParaRPr lang="en-US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667512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интересованные стороны</a:t>
            </a:r>
            <a:endParaRPr lang="en-US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Title 2">
            <a:extLst>
              <a:ext uri="{FF2B5EF4-FFF2-40B4-BE49-F238E27FC236}">
                <a16:creationId xmlns:a16="http://schemas.microsoft.com/office/drawing/2014/main" id="{D43B2A3B-75D5-395D-9C37-5D1603F983CF}"/>
              </a:ext>
            </a:extLst>
          </p:cNvPr>
          <p:cNvSpPr txBox="1">
            <a:spLocks/>
          </p:cNvSpPr>
          <p:nvPr/>
        </p:nvSpPr>
        <p:spPr>
          <a:xfrm>
            <a:off x="2411942" y="336539"/>
            <a:ext cx="8296453" cy="72454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>
                <a:solidFill>
                  <a:srgbClr val="000000"/>
                </a:solidFill>
              </a:rPr>
              <a:t>Подготовка, планирование, проектирование</a:t>
            </a:r>
            <a:endParaRPr lang="en-GB" sz="2600">
              <a:solidFill>
                <a:srgbClr val="000000"/>
              </a:solidFill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9E1B9F7-26B4-871C-DAC4-D967E52DE3A3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05" name="Arrow: Chevron 104">
              <a:extLst>
                <a:ext uri="{FF2B5EF4-FFF2-40B4-BE49-F238E27FC236}">
                  <a16:creationId xmlns:a16="http://schemas.microsoft.com/office/drawing/2014/main" id="{2540258B-E3E0-E98B-5DE5-1BB44F85BA1C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DA0169B-93BD-4CBD-FA51-434341532742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 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6323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37AB2-1C53-454C-970C-553EF36755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5923653-7CBA-C93E-B952-56C10D3D25DC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022D8247-1E0C-EF61-3997-C02C8F79DE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64C7F5C1-5B69-F49D-66A2-334EDBFC32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BA91C6-5C9D-316C-F4C8-C1BCA0B562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989EE4-B99D-BE57-DCB2-028BD08FB1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BFFA0FA-5DBE-EA92-98DF-4B2B7452D9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140CC4E7-C5B6-2192-6F05-933BA82EFF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D72DAB4E-C3D1-D957-9313-ED15564B19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161C2817-BA9E-46C6-85FA-B61D33B30B33}"/>
              </a:ext>
            </a:extLst>
          </p:cNvPr>
          <p:cNvSpPr txBox="1">
            <a:spLocks/>
          </p:cNvSpPr>
          <p:nvPr/>
        </p:nvSpPr>
        <p:spPr>
          <a:xfrm>
            <a:off x="686282" y="1747268"/>
            <a:ext cx="5892296" cy="18785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3600" b="1">
                <a:cs typeface="Arial"/>
              </a:rPr>
              <a:t>Профессиональное мастерство в системе ПОО</a:t>
            </a:r>
            <a:endParaRPr lang="en-GB" sz="3600" b="1">
              <a:cs typeface="Arial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199A97AE-65F5-F23A-C6FC-156ACBC556BA}"/>
              </a:ext>
            </a:extLst>
          </p:cNvPr>
          <p:cNvSpPr txBox="1">
            <a:spLocks/>
          </p:cNvSpPr>
          <p:nvPr/>
        </p:nvSpPr>
        <p:spPr>
          <a:xfrm>
            <a:off x="550583" y="3932297"/>
            <a:ext cx="5892296" cy="187858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36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Excellence in TVET</a:t>
            </a:r>
            <a:endParaRPr lang="en-US" sz="360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11049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ECAFD0-6F62-3D68-5671-ABA237017C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07BE4420-C1CB-7432-9A2F-D223C09CEA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A0F2444-5D90-66D6-1152-C8975440E55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78068F-2363-8780-ECFF-CC3080A84DD5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0419EF08-645E-99AC-E3BD-E2950C29F6D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757B1B-FBCD-F6C2-4CE2-7795D6056933}"/>
              </a:ext>
            </a:extLst>
          </p:cNvPr>
          <p:cNvSpPr txBox="1"/>
          <p:nvPr/>
        </p:nvSpPr>
        <p:spPr>
          <a:xfrm>
            <a:off x="4223792" y="1302742"/>
            <a:ext cx="684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Отобрать критерии и индикаторы для самооценки</a:t>
            </a:r>
            <a:endParaRPr lang="en-GB" sz="2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8F185E-4550-9856-3D83-15A9077BD08A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DCF02A-4FDE-0118-84F6-8AFD0A721D81}"/>
              </a:ext>
            </a:extLst>
          </p:cNvPr>
          <p:cNvSpPr txBox="1"/>
          <p:nvPr/>
        </p:nvSpPr>
        <p:spPr>
          <a:xfrm>
            <a:off x="3271517" y="2015566"/>
            <a:ext cx="60548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Как выбирать критерии и индикаторы</a:t>
            </a:r>
            <a:r>
              <a:rPr lang="en-US" sz="28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?</a:t>
            </a:r>
            <a:endParaRPr lang="en-GB" sz="2800">
              <a:solidFill>
                <a:schemeClr val="accent2"/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F0642CF-DA9B-B7DF-0EF3-F37076461970}"/>
              </a:ext>
            </a:extLst>
          </p:cNvPr>
          <p:cNvSpPr txBox="1">
            <a:spLocks/>
          </p:cNvSpPr>
          <p:nvPr/>
        </p:nvSpPr>
        <p:spPr>
          <a:xfrm>
            <a:off x="1011654" y="2695709"/>
            <a:ext cx="10484946" cy="3685619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762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52438" indent="-1873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7550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67512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Мастерство по всем трём измерениям или в конкретной области</a:t>
            </a: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? ​</a:t>
            </a:r>
          </a:p>
          <a:p>
            <a:pPr defTabSz="667512"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	</a:t>
            </a: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Соотнесите с вашими</a:t>
            </a: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: </a:t>
            </a:r>
          </a:p>
          <a:p>
            <a:pPr defTabSz="667512"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		- </a:t>
            </a: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концепцией профессионального мастерства</a:t>
            </a:r>
            <a:endParaRPr lang="en-US" sz="2000" b="0">
              <a:solidFill>
                <a:srgbClr val="44546A"/>
              </a:solidFill>
              <a:latin typeface="Arial" panose="020B0604020202020204" pitchFamily="34" charset="0"/>
            </a:endParaRPr>
          </a:p>
          <a:p>
            <a:pPr defTabSz="667512"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		- </a:t>
            </a: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существующими стратегиями</a:t>
            </a:r>
            <a:endParaRPr lang="en-US" sz="2000" b="0">
              <a:solidFill>
                <a:srgbClr val="44546A"/>
              </a:solidFill>
              <a:latin typeface="Arial" panose="020B0604020202020204" pitchFamily="34" charset="0"/>
            </a:endParaRPr>
          </a:p>
          <a:p>
            <a:pPr defTabSz="667512"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		- </a:t>
            </a: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планами действий</a:t>
            </a:r>
          </a:p>
          <a:p>
            <a:pPr marL="1258888" indent="90488" defTabSz="667512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- целями и другими стратегическими документами</a:t>
            </a: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.</a:t>
            </a:r>
          </a:p>
          <a:p>
            <a:pPr marL="342900" indent="-342900" defTabSz="667512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Наличие количественной информации</a:t>
            </a:r>
            <a:r>
              <a:rPr lang="en-US" sz="2000" b="0">
                <a:solidFill>
                  <a:srgbClr val="44546A"/>
                </a:solidFill>
                <a:latin typeface="Arial" panose="020B0604020202020204" pitchFamily="34" charset="0"/>
              </a:rPr>
              <a:t>​</a:t>
            </a:r>
          </a:p>
          <a:p>
            <a:pPr marL="342900" indent="-342900" defTabSz="667512"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b="0">
                <a:solidFill>
                  <a:srgbClr val="44546A"/>
                </a:solidFill>
                <a:latin typeface="Arial" panose="020B0604020202020204" pitchFamily="34" charset="0"/>
              </a:rPr>
              <a:t>Соответствующие заинтересованные стороны, которых необходимо вовлечь</a:t>
            </a:r>
            <a:endParaRPr lang="en-GB" sz="2000" b="0">
              <a:solidFill>
                <a:srgbClr val="44546A"/>
              </a:solidFill>
              <a:latin typeface="Arial" panose="020B0604020202020204" pitchFamily="34" charset="0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AE741E91-7B9A-C187-4D9C-990827A8F9BE}"/>
              </a:ext>
            </a:extLst>
          </p:cNvPr>
          <p:cNvSpPr/>
          <p:nvPr/>
        </p:nvSpPr>
        <p:spPr>
          <a:xfrm>
            <a:off x="1271596" y="3152743"/>
            <a:ext cx="259810" cy="141704"/>
          </a:xfrm>
          <a:prstGeom prst="rightArrow">
            <a:avLst/>
          </a:prstGeom>
          <a:solidFill>
            <a:schemeClr val="accent2"/>
          </a:solidFill>
          <a:ln>
            <a:solidFill>
              <a:srgbClr val="38B6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D215654-F51A-0A59-E0AF-78CF09E655EB}"/>
              </a:ext>
            </a:extLst>
          </p:cNvPr>
          <p:cNvSpPr txBox="1">
            <a:spLocks/>
          </p:cNvSpPr>
          <p:nvPr/>
        </p:nvSpPr>
        <p:spPr>
          <a:xfrm>
            <a:off x="2443874" y="271372"/>
            <a:ext cx="7737617" cy="69645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>
                <a:solidFill>
                  <a:srgbClr val="000000"/>
                </a:solidFill>
              </a:rPr>
              <a:t>Подготовка, планирование, проектирование</a:t>
            </a:r>
            <a:endParaRPr lang="en-GB" sz="2600">
              <a:solidFill>
                <a:srgbClr val="000000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9902164-DFAC-5D5C-74BD-3650B195C045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D6BF94AB-FE0E-32AD-B915-AB72AEAA0144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2DCC8E0-ABD5-6DC0-F643-D0780AE5CDB8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574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B0068-007C-FC87-6FAD-6C1B6C66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6C203143-1E59-A4EC-46EB-B4C029C5FF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60252D3-BD7A-B2BC-E8EB-FCEE696492D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6EB8E34-FD0A-48E5-9A51-7A2C2F4790A5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F1C31CF-9ACA-0636-668C-3D7EB60881D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2B7B7FA-F7CD-9D78-2798-598C1AA8648F}"/>
              </a:ext>
            </a:extLst>
          </p:cNvPr>
          <p:cNvSpPr txBox="1"/>
          <p:nvPr/>
        </p:nvSpPr>
        <p:spPr>
          <a:xfrm>
            <a:off x="4223792" y="1302742"/>
            <a:ext cx="684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Отобрать критерии и индикаторы для самооценк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E4282F-8157-24C5-5AAD-F118C9F05310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4C0A00-958B-8897-34BC-2144993377AD}"/>
              </a:ext>
            </a:extLst>
          </p:cNvPr>
          <p:cNvSpPr txBox="1"/>
          <p:nvPr/>
        </p:nvSpPr>
        <p:spPr>
          <a:xfrm>
            <a:off x="541897" y="1926221"/>
            <a:ext cx="109648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>
                <a:solidFill>
                  <a:srgbClr val="38B6AB"/>
                </a:solidFill>
                <a:effectLst/>
                <a:latin typeface="Aptos Display" panose="020B0004020202020204" pitchFamily="34" charset="0"/>
              </a:rPr>
              <a:t>Заинтересованные стороны, которые могут внести вклад в самооценку</a:t>
            </a:r>
            <a:endParaRPr lang="en-GB" sz="2800">
              <a:solidFill>
                <a:schemeClr val="accent2"/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oogle Shape;321;p13">
            <a:extLst>
              <a:ext uri="{FF2B5EF4-FFF2-40B4-BE49-F238E27FC236}">
                <a16:creationId xmlns:a16="http://schemas.microsoft.com/office/drawing/2014/main" id="{0AAFE0BE-9776-8D92-A946-A19725EC9147}"/>
              </a:ext>
            </a:extLst>
          </p:cNvPr>
          <p:cNvSpPr txBox="1"/>
          <p:nvPr/>
        </p:nvSpPr>
        <p:spPr>
          <a:xfrm>
            <a:off x="856872" y="2092771"/>
            <a:ext cx="5407247" cy="3781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98A8B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Преподаватели и тренеры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Другие сотрудники школы или центра (включая руководителей и ассистентов)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Выпускники</a:t>
            </a:r>
            <a:endParaRPr lang="ru-RU">
              <a:solidFill>
                <a:srgbClr val="4555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Обучающиеся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Другие образовательные провайдеры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Другие школы или провайдеры профессиональных навыков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Научно-исследовательские организации и технологические центры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Члены Совета (Правления)</a:t>
            </a:r>
            <a:endParaRPr sz="1600">
              <a:solidFill>
                <a:srgbClr val="98A8BD"/>
              </a:solidFill>
              <a:latin typeface="Playfair Display"/>
              <a:ea typeface="Playfair Display"/>
              <a:cs typeface="Playfair Display"/>
              <a:sym typeface="Playfair Display"/>
            </a:endParaRPr>
          </a:p>
        </p:txBody>
      </p:sp>
      <p:sp>
        <p:nvSpPr>
          <p:cNvPr id="12" name="Google Shape;321;p13">
            <a:extLst>
              <a:ext uri="{FF2B5EF4-FFF2-40B4-BE49-F238E27FC236}">
                <a16:creationId xmlns:a16="http://schemas.microsoft.com/office/drawing/2014/main" id="{F82E6F08-84C2-59FC-0208-9E04595BC09B}"/>
              </a:ext>
            </a:extLst>
          </p:cNvPr>
          <p:cNvSpPr txBox="1"/>
          <p:nvPr/>
        </p:nvSpPr>
        <p:spPr>
          <a:xfrm>
            <a:off x="6668548" y="2054122"/>
            <a:ext cx="4831183" cy="409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98A8B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Работодатели или представители работодателей (включая отраслевые организации)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Работодатели — малые и средние предприятия (МСП)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Другие социальные партнёры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Органы местного и регионального управления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Национальные органы государственной власти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Родители</a:t>
            </a:r>
          </a:p>
          <a:p>
            <a:pPr marL="342900" marR="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92BB"/>
              </a:buClr>
              <a:buSzPts val="1800"/>
              <a:buFont typeface="Courier New"/>
              <a:buChar char="o"/>
            </a:pPr>
            <a:r>
              <a:rPr lang="ru-RU" sz="1800">
                <a:solidFill>
                  <a:srgbClr val="455560"/>
                </a:solidFill>
                <a:latin typeface="Arial"/>
                <a:ea typeface="Arial"/>
                <a:cs typeface="Arial"/>
                <a:sym typeface="Arial"/>
              </a:rPr>
              <a:t>Международные партнёры</a:t>
            </a:r>
            <a:endParaRPr sz="1800">
              <a:solidFill>
                <a:srgbClr val="4555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4128C92A-D144-A345-1CE8-2E9D1D9773B0}"/>
              </a:ext>
            </a:extLst>
          </p:cNvPr>
          <p:cNvSpPr txBox="1">
            <a:spLocks/>
          </p:cNvSpPr>
          <p:nvPr/>
        </p:nvSpPr>
        <p:spPr>
          <a:xfrm>
            <a:off x="2443874" y="336539"/>
            <a:ext cx="7989279" cy="58544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>
                <a:solidFill>
                  <a:srgbClr val="000000"/>
                </a:solidFill>
              </a:rPr>
              <a:t>Подготовка, планирование, проектирование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5812B27-BF94-5A98-4530-4177BE192133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43A2434B-7A78-AA2D-2C2A-85FF89937AE8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E343D84-8084-BF7C-0417-2807A62B76FA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103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4ECF427-39D5-7066-DCDD-1FD59B97E549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04759828-2EA8-A409-5CDB-DAA4D8B6E25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297AFC8-0627-C7AF-3B47-D551EAEA3068}"/>
              </a:ext>
            </a:extLst>
          </p:cNvPr>
          <p:cNvSpPr txBox="1"/>
          <p:nvPr/>
        </p:nvSpPr>
        <p:spPr>
          <a:xfrm>
            <a:off x="4223792" y="1302742"/>
            <a:ext cx="684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Отобрать критерии и индикаторы для самооцен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88FF30-4C73-1C94-F216-31CA22A718F5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4496FE41-CCCA-6DF8-FA47-592D6776DBA8}"/>
              </a:ext>
            </a:extLst>
          </p:cNvPr>
          <p:cNvSpPr txBox="1">
            <a:spLocks/>
          </p:cNvSpPr>
          <p:nvPr/>
        </p:nvSpPr>
        <p:spPr>
          <a:xfrm>
            <a:off x="2369918" y="336539"/>
            <a:ext cx="7883354" cy="61020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>
                <a:solidFill>
                  <a:srgbClr val="000000"/>
                </a:solidFill>
              </a:rPr>
              <a:t>Подготовка, планирование, проектирование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2A23031-82C0-ABD5-986E-97D1AC3A0992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0D45590D-E164-7853-B89F-A8BE6A291BB1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58DB7A3-9D6A-C6ED-13C8-D1EA8EF3E550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2B7C9BB-B82A-79BA-C1B1-B7312711B363}"/>
              </a:ext>
            </a:extLst>
          </p:cNvPr>
          <p:cNvSpPr txBox="1"/>
          <p:nvPr/>
        </p:nvSpPr>
        <p:spPr>
          <a:xfrm>
            <a:off x="2369917" y="2042496"/>
            <a:ext cx="77277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>
                <a:solidFill>
                  <a:srgbClr val="38B6AB"/>
                </a:solidFill>
                <a:effectLst/>
                <a:latin typeface="Aptos Display" panose="020B0004020202020204" pitchFamily="34" charset="0"/>
              </a:rPr>
              <a:t>Как разработать систему самооценки в ISATCOVE</a:t>
            </a:r>
            <a:endParaRPr lang="en-GB" sz="2800">
              <a:solidFill>
                <a:schemeClr val="accent2"/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 descr="Изображение выглядит как текст, Шрифт, снимок экрана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FB090404-9580-9D73-481A-7545C2CC2D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0547" y="2812176"/>
            <a:ext cx="9677741" cy="2434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B07F6E-24E7-AE6A-BB70-30C8AD7AF6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9C492C-C63B-0721-343A-8C6F4DEE69F3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3867629-5B80-F2FE-70F0-04C078F3EA9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86E2E8A-2F33-999B-B75A-B21636E81209}"/>
              </a:ext>
            </a:extLst>
          </p:cNvPr>
          <p:cNvSpPr txBox="1"/>
          <p:nvPr/>
        </p:nvSpPr>
        <p:spPr>
          <a:xfrm>
            <a:off x="4223792" y="1302742"/>
            <a:ext cx="684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Отобрать критерии и индикаторы для самооцен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1F0241-D2B8-E844-48BD-7F1421539ECF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D77FD26C-A975-BF18-0CE6-AD777004060E}"/>
              </a:ext>
            </a:extLst>
          </p:cNvPr>
          <p:cNvSpPr txBox="1">
            <a:spLocks/>
          </p:cNvSpPr>
          <p:nvPr/>
        </p:nvSpPr>
        <p:spPr>
          <a:xfrm>
            <a:off x="2411942" y="336540"/>
            <a:ext cx="7646457" cy="504056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>
                <a:solidFill>
                  <a:srgbClr val="000000"/>
                </a:solidFill>
              </a:rPr>
              <a:t>Подготовка, планирование, проектирование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58731B1-304F-4B25-F22E-09164854D50C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0F1B741B-714B-AD28-C6E5-3DB31E9EDCB6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61C3592-24E7-CA35-2155-22358B3FD35B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C241FCF-022C-8A02-CFB3-F11F81F92EF0}"/>
              </a:ext>
            </a:extLst>
          </p:cNvPr>
          <p:cNvSpPr txBox="1"/>
          <p:nvPr/>
        </p:nvSpPr>
        <p:spPr>
          <a:xfrm>
            <a:off x="2369917" y="2042496"/>
            <a:ext cx="79928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>
                <a:solidFill>
                  <a:srgbClr val="38B6AB"/>
                </a:solidFill>
                <a:effectLst/>
                <a:latin typeface="Aptos Display" panose="020B0004020202020204" pitchFamily="34" charset="0"/>
              </a:rPr>
              <a:t>Как разработать систему самооценки в ISATCOV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02FFEA1-37D6-0F83-4365-9C18F81BAD1F}"/>
              </a:ext>
            </a:extLst>
          </p:cNvPr>
          <p:cNvGrpSpPr/>
          <p:nvPr/>
        </p:nvGrpSpPr>
        <p:grpSpPr>
          <a:xfrm>
            <a:off x="1343472" y="2641234"/>
            <a:ext cx="10064042" cy="4119737"/>
            <a:chOff x="512916" y="1373462"/>
            <a:chExt cx="10975203" cy="538750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6715E81-4481-1BC1-3B62-EC8E90871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2916" y="1373462"/>
              <a:ext cx="3403045" cy="5387509"/>
            </a:xfrm>
            <a:prstGeom prst="rect">
              <a:avLst/>
            </a:prstGeom>
          </p:spPr>
        </p:pic>
        <p:sp>
          <p:nvSpPr>
            <p:cNvPr id="12" name="Speech Bubble: Rectangle 11">
              <a:extLst>
                <a:ext uri="{FF2B5EF4-FFF2-40B4-BE49-F238E27FC236}">
                  <a16:creationId xmlns:a16="http://schemas.microsoft.com/office/drawing/2014/main" id="{BF6F0EE8-897C-C918-E7B5-FF5B0827F2D4}"/>
                </a:ext>
              </a:extLst>
            </p:cNvPr>
            <p:cNvSpPr/>
            <p:nvPr/>
          </p:nvSpPr>
          <p:spPr>
            <a:xfrm>
              <a:off x="4763078" y="1869771"/>
              <a:ext cx="6725041" cy="1662821"/>
            </a:xfrm>
            <a:prstGeom prst="wedgeRectCallout">
              <a:avLst>
                <a:gd name="adj1" fmla="val -67432"/>
                <a:gd name="adj2" fmla="val -23617"/>
              </a:avLst>
            </a:prstGeom>
            <a:ln w="381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>
                  <a:solidFill>
                    <a:srgbClr val="4C565C"/>
                  </a:solidFill>
                </a:rPr>
                <a:t>PC1 – PC1: </a:t>
              </a:r>
              <a:r>
                <a:rPr lang="ru-RU">
                  <a:solidFill>
                    <a:srgbClr val="4C565C"/>
                  </a:solidFill>
                </a:rPr>
                <a:t>Устойчивое и эффективное сотрудничество с работодателями или организациями работодателей для разработки, реализации и совершенствования обучения и развития профессиональных навыков</a:t>
              </a:r>
              <a:endParaRPr lang="en-GB">
                <a:solidFill>
                  <a:srgbClr val="4C565C"/>
                </a:solidFill>
              </a:endParaRPr>
            </a:p>
          </p:txBody>
        </p:sp>
        <p:sp>
          <p:nvSpPr>
            <p:cNvPr id="13" name="Speech Bubble: Rectangle 12">
              <a:extLst>
                <a:ext uri="{FF2B5EF4-FFF2-40B4-BE49-F238E27FC236}">
                  <a16:creationId xmlns:a16="http://schemas.microsoft.com/office/drawing/2014/main" id="{75DCD100-F25A-6E58-BD83-F6C1DD39990D}"/>
                </a:ext>
              </a:extLst>
            </p:cNvPr>
            <p:cNvSpPr/>
            <p:nvPr/>
          </p:nvSpPr>
          <p:spPr>
            <a:xfrm>
              <a:off x="4763078" y="3754175"/>
              <a:ext cx="6725041" cy="1662821"/>
            </a:xfrm>
            <a:prstGeom prst="wedgeRectCallout">
              <a:avLst>
                <a:gd name="adj1" fmla="val -72019"/>
                <a:gd name="adj2" fmla="val -51509"/>
              </a:avLst>
            </a:prstGeom>
            <a:ln w="381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>
                  <a:solidFill>
                    <a:srgbClr val="4C565C"/>
                  </a:solidFill>
                </a:rPr>
                <a:t>PC2 – PC2: </a:t>
              </a:r>
              <a:r>
                <a:rPr lang="ru-RU">
                  <a:solidFill>
                    <a:srgbClr val="4C565C"/>
                  </a:solidFill>
                </a:rPr>
                <a:t>Сотрудничает с малыми и средними предприятиями (МСП) с целью предоставления им индивидуально подобранных навыков, поддержки, услуг и экспертной помощи</a:t>
              </a:r>
              <a:endParaRPr lang="en-GB">
                <a:solidFill>
                  <a:srgbClr val="4C565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262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A46A2-3FEB-84C4-62FA-471CBD3C9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733009C-4C79-63AC-2DAB-7B4AB4D83C52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C62954A-A6CF-989A-A716-63BD286368F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F68F554-2CD3-E8A7-2931-5C5CFD0D7CA7}"/>
              </a:ext>
            </a:extLst>
          </p:cNvPr>
          <p:cNvSpPr txBox="1"/>
          <p:nvPr/>
        </p:nvSpPr>
        <p:spPr>
          <a:xfrm>
            <a:off x="4223792" y="1302742"/>
            <a:ext cx="6840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/>
              <a:t>Отобрать критерии и индикаторы для самооцен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E366DE-F71D-8B3A-9390-53E68E824BB7}"/>
              </a:ext>
            </a:extLst>
          </p:cNvPr>
          <p:cNvSpPr txBox="1"/>
          <p:nvPr/>
        </p:nvSpPr>
        <p:spPr>
          <a:xfrm>
            <a:off x="2831612" y="1302742"/>
            <a:ext cx="1116000" cy="4001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2000" b="1">
                <a:solidFill>
                  <a:schemeClr val="bg1"/>
                </a:solidFill>
              </a:rPr>
              <a:t>ЧТО</a:t>
            </a:r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32ECEDD-BCAC-3118-92B5-7FE1CF86937E}"/>
              </a:ext>
            </a:extLst>
          </p:cNvPr>
          <p:cNvSpPr txBox="1">
            <a:spLocks/>
          </p:cNvSpPr>
          <p:nvPr/>
        </p:nvSpPr>
        <p:spPr>
          <a:xfrm>
            <a:off x="2411942" y="336540"/>
            <a:ext cx="7826340" cy="504056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600">
                <a:solidFill>
                  <a:srgbClr val="000000"/>
                </a:solidFill>
              </a:rPr>
              <a:t>Подготовка, планирование, проектирование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A3B0332-C0DE-4940-C435-BFD745FE9AE2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B71119D9-3746-D632-72A9-2D6106066DE3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C01A882-F62E-11A1-E8F8-9A3629D582CD}"/>
                </a:ext>
              </a:extLst>
            </p:cNvPr>
            <p:cNvSpPr txBox="1"/>
            <p:nvPr/>
          </p:nvSpPr>
          <p:spPr>
            <a:xfrm>
              <a:off x="4134227" y="2928245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86A21380-40FE-DCAB-2CA6-F9131FDB3144}"/>
              </a:ext>
            </a:extLst>
          </p:cNvPr>
          <p:cNvSpPr txBox="1"/>
          <p:nvPr/>
        </p:nvSpPr>
        <p:spPr>
          <a:xfrm>
            <a:off x="2243849" y="1827098"/>
            <a:ext cx="79944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>
                <a:solidFill>
                  <a:srgbClr val="38B6AB"/>
                </a:solidFill>
                <a:effectLst/>
                <a:latin typeface="Aptos Display" panose="020B0004020202020204" pitchFamily="34" charset="0"/>
              </a:rPr>
              <a:t>Как разработать систему самооценки в ISATCOV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E01A7DD-E771-0DE5-3AE9-9B4B4B8BA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748" y="2707821"/>
            <a:ext cx="2621480" cy="415017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F0FCCDA-F1BF-69F6-D6DA-8F591C390C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6113" y="3440020"/>
            <a:ext cx="9115887" cy="4966117"/>
          </a:xfrm>
          <a:prstGeom prst="rect">
            <a:avLst/>
          </a:prstGeom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E5866816-5EED-6AF4-3C54-4BF2B4D891EE}"/>
              </a:ext>
            </a:extLst>
          </p:cNvPr>
          <p:cNvSpPr/>
          <p:nvPr/>
        </p:nvSpPr>
        <p:spPr>
          <a:xfrm>
            <a:off x="1487488" y="2553597"/>
            <a:ext cx="5618652" cy="1434233"/>
          </a:xfrm>
          <a:prstGeom prst="wedgeRectCallout">
            <a:avLst>
              <a:gd name="adj1" fmla="val 8025"/>
              <a:gd name="adj2" fmla="val 91186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Я получил(а) пользу от стажировки или практики, организованной работодателями для преподавателей или тренеров, поскольку это помогло мне обновить мои знания, навыки и компетенции.</a:t>
            </a:r>
            <a:endParaRPr lang="en-GB">
              <a:solidFill>
                <a:srgbClr val="4C565C"/>
              </a:solidFill>
            </a:endParaRP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2097D133-FF93-17EB-3593-F1F44B05C7B2}"/>
              </a:ext>
            </a:extLst>
          </p:cNvPr>
          <p:cNvSpPr/>
          <p:nvPr/>
        </p:nvSpPr>
        <p:spPr>
          <a:xfrm>
            <a:off x="8400256" y="3095556"/>
            <a:ext cx="1567543" cy="503170"/>
          </a:xfrm>
          <a:prstGeom prst="wedgeRectCallout">
            <a:avLst>
              <a:gd name="adj1" fmla="val -67104"/>
              <a:gd name="adj2" fmla="val 134214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Респондент</a:t>
            </a:r>
            <a:endParaRPr lang="en-GB">
              <a:solidFill>
                <a:srgbClr val="4C565C"/>
              </a:solidFill>
            </a:endParaRP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E7C553E8-D5F2-BA99-50C7-1E1E21E216EF}"/>
              </a:ext>
            </a:extLst>
          </p:cNvPr>
          <p:cNvSpPr/>
          <p:nvPr/>
        </p:nvSpPr>
        <p:spPr>
          <a:xfrm>
            <a:off x="9277941" y="3718441"/>
            <a:ext cx="1833105" cy="576000"/>
          </a:xfrm>
          <a:prstGeom prst="wedgeRectCallout">
            <a:avLst>
              <a:gd name="adj1" fmla="val -80869"/>
              <a:gd name="adj2" fmla="val 100853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Преподаватель или тренер</a:t>
            </a:r>
            <a:endParaRPr lang="en-GB">
              <a:solidFill>
                <a:srgbClr val="4C565C"/>
              </a:solidFill>
            </a:endParaRPr>
          </a:p>
        </p:txBody>
      </p: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BB4826AF-C569-1183-3556-9548BD438308}"/>
              </a:ext>
            </a:extLst>
          </p:cNvPr>
          <p:cNvSpPr/>
          <p:nvPr/>
        </p:nvSpPr>
        <p:spPr>
          <a:xfrm>
            <a:off x="9408368" y="4462011"/>
            <a:ext cx="2373901" cy="862863"/>
          </a:xfrm>
          <a:prstGeom prst="wedgeRectCallout">
            <a:avLst>
              <a:gd name="adj1" fmla="val -69914"/>
              <a:gd name="adj2" fmla="val 97437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Команда школы по проведению самооценки</a:t>
            </a:r>
            <a:endParaRPr lang="en-GB">
              <a:solidFill>
                <a:srgbClr val="4C56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0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288A5-8AA6-2CD8-FE90-CB417143D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Slide Number Placeholder 1">
            <a:extLst>
              <a:ext uri="{FF2B5EF4-FFF2-40B4-BE49-F238E27FC236}">
                <a16:creationId xmlns:a16="http://schemas.microsoft.com/office/drawing/2014/main" id="{59071FA0-E4AB-B1A7-5994-A99F0B8956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sp>
        <p:nvSpPr>
          <p:cNvPr id="1044" name="Slide Number Placeholder 1">
            <a:extLst>
              <a:ext uri="{FF2B5EF4-FFF2-40B4-BE49-F238E27FC236}">
                <a16:creationId xmlns:a16="http://schemas.microsoft.com/office/drawing/2014/main" id="{C7727465-F197-3290-B23B-29DA17B13A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pic>
        <p:nvPicPr>
          <p:cNvPr id="1032" name="Picture 8" descr="Page 2 | People Images - Free Download on Freepik">
            <a:extLst>
              <a:ext uri="{FF2B5EF4-FFF2-40B4-BE49-F238E27FC236}">
                <a16:creationId xmlns:a16="http://schemas.microsoft.com/office/drawing/2014/main" id="{32CF9C30-46AB-20B7-7511-FA09BB490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0" r="3022" b="-1"/>
          <a:stretch>
            <a:fillRect/>
          </a:stretch>
        </p:blipFill>
        <p:spPr bwMode="auto">
          <a:xfrm>
            <a:off x="20" y="-13402"/>
            <a:ext cx="904830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E802CBA-356A-89FB-6564-3856B81E8424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98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4BEFFB-3D19-356C-3F0E-CDDB4AEF5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AB4EC1C9-6326-309E-329B-998F3CAEDE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E3B3CF-B28C-34AE-FBE6-8597D7F0D15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8C718F8-E416-077B-9874-7C0C18BD7CB1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5BCA4A0-A52B-AA72-8ACD-74C744CD43D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56FA703-B9DB-C476-7FE9-04EC4CB787A0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Проведение самооценки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3C89345-1366-98C6-88C3-711BFF983642}"/>
              </a:ext>
            </a:extLst>
          </p:cNvPr>
          <p:cNvGrpSpPr/>
          <p:nvPr/>
        </p:nvGrpSpPr>
        <p:grpSpPr>
          <a:xfrm>
            <a:off x="2658071" y="1797784"/>
            <a:ext cx="7974433" cy="4452469"/>
            <a:chOff x="4071913" y="1778040"/>
            <a:chExt cx="7974433" cy="4452469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07A1DA8-2828-6F37-CB93-6ADAA85BAC68}"/>
                </a:ext>
              </a:extLst>
            </p:cNvPr>
            <p:cNvSpPr txBox="1"/>
            <p:nvPr/>
          </p:nvSpPr>
          <p:spPr>
            <a:xfrm>
              <a:off x="5470875" y="1778040"/>
              <a:ext cx="6575471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Сбор доказательств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Вынесение суждения по критериям</a:t>
              </a:r>
              <a:endParaRPr lang="en-GB" sz="2000"/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endParaRPr lang="en-GB" sz="20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05567C2-98A6-C627-146A-188376EE6DB5}"/>
                </a:ext>
              </a:extLst>
            </p:cNvPr>
            <p:cNvSpPr txBox="1"/>
            <p:nvPr/>
          </p:nvSpPr>
          <p:spPr>
            <a:xfrm>
              <a:off x="4092550" y="1892815"/>
              <a:ext cx="1116000" cy="40011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Ч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554E1B7-6614-638F-C8C0-5D3949337238}"/>
                </a:ext>
              </a:extLst>
            </p:cNvPr>
            <p:cNvSpPr txBox="1"/>
            <p:nvPr/>
          </p:nvSpPr>
          <p:spPr>
            <a:xfrm>
              <a:off x="4108608" y="3695799"/>
              <a:ext cx="1116000" cy="40011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АК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175A7D2-2B48-52CB-F047-31D23CD2ABB2}"/>
                </a:ext>
              </a:extLst>
            </p:cNvPr>
            <p:cNvSpPr txBox="1"/>
            <p:nvPr/>
          </p:nvSpPr>
          <p:spPr>
            <a:xfrm>
              <a:off x="4071913" y="2836297"/>
              <a:ext cx="1116000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EC53829-B33D-834F-2197-560AEFB18B94}"/>
                </a:ext>
              </a:extLst>
            </p:cNvPr>
            <p:cNvSpPr txBox="1"/>
            <p:nvPr/>
          </p:nvSpPr>
          <p:spPr>
            <a:xfrm>
              <a:off x="5470875" y="2866389"/>
              <a:ext cx="540791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Команда по самооценке (КС</a:t>
              </a:r>
              <a:r>
                <a:rPr lang="en-US" sz="2000"/>
                <a:t>)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78C6DB2-02F5-C8AD-2220-9D6966A8D013}"/>
                </a:ext>
              </a:extLst>
            </p:cNvPr>
            <p:cNvSpPr txBox="1"/>
            <p:nvPr/>
          </p:nvSpPr>
          <p:spPr>
            <a:xfrm>
              <a:off x="4071913" y="4291517"/>
              <a:ext cx="7404050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Сбор информации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Согласование ответов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Вовлечение заинтересованных сторон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Анализ собранных доказательств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Совместное обсуждение и вынесение коллегиального решения</a:t>
              </a:r>
              <a:endParaRPr lang="en-GB" sz="20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39EC885-FA52-C009-2C2D-C3340772B4FB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6E627E41-471B-79D7-D3FE-8F08128C3CAA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C148F70-2B81-DB9C-7172-4C7AE06003E7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331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6A9314-96B4-01D0-89D5-6D1E0780C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B1D5392C-CF19-8C81-75B5-D9DF1C14CD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D76B1C3-0667-2CBD-B361-7BA19C7B704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FDE488A-435B-4081-E1B4-F5B28997888D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F9067E-E94A-BAFE-72FB-5F3DABD2198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4926721-98C6-101D-23DA-4CDF413E79F0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Проведение самооценки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5435D55-0A53-651C-83C4-B38AC121A7A4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B9DBE718-88AD-04EA-1AD2-99D8715E2D7B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F1C2C67-4A84-DEFE-2242-9310A58DE48B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2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D5C672A-9965-E067-FD47-854918CB1973}"/>
              </a:ext>
            </a:extLst>
          </p:cNvPr>
          <p:cNvSpPr txBox="1"/>
          <p:nvPr/>
        </p:nvSpPr>
        <p:spPr>
          <a:xfrm>
            <a:off x="4024293" y="1239871"/>
            <a:ext cx="3256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Сбор доказательств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6084DAA-09C0-58A3-AED3-5E1A7196273F}"/>
              </a:ext>
            </a:extLst>
          </p:cNvPr>
          <p:cNvGrpSpPr/>
          <p:nvPr/>
        </p:nvGrpSpPr>
        <p:grpSpPr>
          <a:xfrm>
            <a:off x="1948599" y="1878217"/>
            <a:ext cx="4617093" cy="4162815"/>
            <a:chOff x="763422" y="1863956"/>
            <a:chExt cx="4617093" cy="416281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497E57A-FA22-EAE9-CCF8-C9D36C08B15C}"/>
                </a:ext>
              </a:extLst>
            </p:cNvPr>
            <p:cNvSpPr txBox="1"/>
            <p:nvPr/>
          </p:nvSpPr>
          <p:spPr>
            <a:xfrm>
              <a:off x="763422" y="1863956"/>
              <a:ext cx="4362260" cy="28623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/>
              <a:r>
                <a:rPr lang="ru-RU" sz="2000" b="1"/>
                <a:t>Структурные индикаторы</a:t>
              </a:r>
            </a:p>
            <a:p>
              <a:pPr lvl="0"/>
              <a:endParaRPr lang="en-US" sz="2000">
                <a:solidFill>
                  <a:srgbClr val="002060"/>
                </a:solidFill>
                <a:ea typeface="Arial"/>
                <a:cs typeface="Arial"/>
                <a:sym typeface="Arial"/>
              </a:endParaRPr>
            </a:p>
            <a:p>
              <a:pPr marL="285750" lvl="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>
                  <a:sym typeface="Arial"/>
                </a:rPr>
                <a:t>Подтвердить, существует ли соответствующая деятельность / процессы</a:t>
              </a:r>
            </a:p>
            <a:p>
              <a:pPr lvl="0">
                <a:buClr>
                  <a:schemeClr val="accent2">
                    <a:lumMod val="75000"/>
                  </a:schemeClr>
                </a:buClr>
              </a:pPr>
              <a:endParaRPr lang="en-GB" sz="2000">
                <a:sym typeface="Arial"/>
              </a:endParaRPr>
            </a:p>
            <a:p>
              <a:pPr marL="285750" lvl="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>
                  <a:sym typeface="Arial"/>
                </a:rPr>
                <a:t>Оценить степень того, насколько данная деятельность / процессы реализованы</a:t>
              </a:r>
              <a:endParaRPr lang="en-US" sz="200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5B90CDB-399C-E0BE-6907-36F08E657B0B}"/>
                </a:ext>
              </a:extLst>
            </p:cNvPr>
            <p:cNvSpPr txBox="1"/>
            <p:nvPr/>
          </p:nvSpPr>
          <p:spPr>
            <a:xfrm>
              <a:off x="868858" y="4703332"/>
              <a:ext cx="4511657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/>
              <a:r>
                <a:rPr lang="ru-RU" sz="2000" b="1"/>
                <a:t>Количественные индикаторы</a:t>
              </a:r>
            </a:p>
            <a:p>
              <a:pPr lvl="0"/>
              <a:endParaRPr lang="en-US" sz="2000">
                <a:solidFill>
                  <a:srgbClr val="002060"/>
                </a:solidFill>
                <a:ea typeface="Arial"/>
                <a:cs typeface="Arial"/>
                <a:sym typeface="Arial"/>
              </a:endParaRPr>
            </a:p>
            <a:p>
              <a:pPr marL="285750" lvl="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>
                  <a:sym typeface="Arial"/>
                </a:rPr>
                <a:t>Требуют числовых (количественных)  ответов</a:t>
              </a:r>
              <a:endParaRPr lang="en-GB" sz="200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521F8E93-53D8-3BC3-A330-D22092ACE299}"/>
              </a:ext>
            </a:extLst>
          </p:cNvPr>
          <p:cNvSpPr txBox="1"/>
          <p:nvPr/>
        </p:nvSpPr>
        <p:spPr>
          <a:xfrm>
            <a:off x="7026261" y="1791790"/>
            <a:ext cx="4719953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2000" b="1"/>
              <a:t>Индикаторы заинтересованных сторон</a:t>
            </a:r>
            <a:endParaRPr lang="en-US" sz="2000">
              <a:solidFill>
                <a:srgbClr val="002060"/>
              </a:solidFill>
              <a:ea typeface="Arial"/>
              <a:cs typeface="Arial"/>
              <a:sym typeface="Arial"/>
            </a:endParaRPr>
          </a:p>
          <a:p>
            <a:pPr marL="285750" lvl="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>
                <a:sym typeface="Arial"/>
              </a:rPr>
              <a:t>Адаптированные (качественные) опросы для различных групп заинтересованных сторон</a:t>
            </a:r>
            <a:endParaRPr lang="en-GB" sz="20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3617F4A-5EB2-F396-5A29-7D590D6448ED}"/>
              </a:ext>
            </a:extLst>
          </p:cNvPr>
          <p:cNvGrpSpPr/>
          <p:nvPr/>
        </p:nvGrpSpPr>
        <p:grpSpPr>
          <a:xfrm rot="5400000">
            <a:off x="8775220" y="2130896"/>
            <a:ext cx="537647" cy="3674600"/>
            <a:chOff x="972539" y="2075295"/>
            <a:chExt cx="537647" cy="3674600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4B9B156-45C3-3645-7CF9-B2F78C35E096}"/>
                </a:ext>
              </a:extLst>
            </p:cNvPr>
            <p:cNvSpPr/>
            <p:nvPr/>
          </p:nvSpPr>
          <p:spPr>
            <a:xfrm>
              <a:off x="972539" y="2075295"/>
              <a:ext cx="537647" cy="3674600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B76CCF6-BDB9-F58D-0F55-8F43626032AC}"/>
                </a:ext>
              </a:extLst>
            </p:cNvPr>
            <p:cNvSpPr txBox="1"/>
            <p:nvPr/>
          </p:nvSpPr>
          <p:spPr>
            <a:xfrm rot="16200000">
              <a:off x="-546327" y="3677062"/>
              <a:ext cx="3603644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chemeClr val="accent2">
                    <a:lumMod val="75000"/>
                  </a:schemeClr>
                </a:buClr>
              </a:pPr>
              <a:r>
                <a:rPr lang="ru-RU" sz="2000">
                  <a:solidFill>
                    <a:schemeClr val="bg1"/>
                  </a:solidFill>
                </a:rPr>
                <a:t>Заинтересованные стороны</a:t>
              </a:r>
              <a:endParaRPr lang="en-US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4118A1D-A32D-103D-845E-4AA051089762}"/>
              </a:ext>
            </a:extLst>
          </p:cNvPr>
          <p:cNvGrpSpPr/>
          <p:nvPr/>
        </p:nvGrpSpPr>
        <p:grpSpPr>
          <a:xfrm rot="5400000">
            <a:off x="4227692" y="4169840"/>
            <a:ext cx="537647" cy="4408174"/>
            <a:chOff x="972539" y="1341721"/>
            <a:chExt cx="537647" cy="4408174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0D5FDC67-C556-B386-A2C0-D478E868A357}"/>
                </a:ext>
              </a:extLst>
            </p:cNvPr>
            <p:cNvSpPr/>
            <p:nvPr/>
          </p:nvSpPr>
          <p:spPr>
            <a:xfrm>
              <a:off x="972539" y="2075295"/>
              <a:ext cx="537647" cy="3674600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E0F0D28-0FC1-4E9E-E3A8-5D9E0ED826F9}"/>
                </a:ext>
              </a:extLst>
            </p:cNvPr>
            <p:cNvSpPr txBox="1"/>
            <p:nvPr/>
          </p:nvSpPr>
          <p:spPr>
            <a:xfrm rot="16200000">
              <a:off x="-913114" y="3310275"/>
              <a:ext cx="433721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Clr>
                  <a:schemeClr val="accent2">
                    <a:lumMod val="75000"/>
                  </a:schemeClr>
                </a:buClr>
              </a:pPr>
              <a:r>
                <a:rPr lang="ru-RU" sz="2000">
                  <a:solidFill>
                    <a:schemeClr val="bg1"/>
                  </a:solidFill>
                </a:rPr>
                <a:t>Команда по самооценке (КС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268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2FA-913A-D045-D086-95692469D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9B7F2CCD-4AC4-6664-2643-4E47590BF7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1420EAB-73C4-0CCE-60D1-ACB0DD960C5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0BBBE37-5BE4-EEBB-176B-78B8FDA306DC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C1CB6A0-F934-7923-4408-4FB2F06B506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08D517-1E70-AC7F-7321-B7DFAAD665FB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Проведение самооценки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F9C4089-F0AE-3C92-CF25-C8926979B0FD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D98E962F-1725-7036-1DBB-98D0CA777CDC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3173CF8-A3EF-A776-B3F3-210D4A305FAB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2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C69A1FE-E440-CBF3-66C9-FE60ABE7DA7A}"/>
              </a:ext>
            </a:extLst>
          </p:cNvPr>
          <p:cNvSpPr txBox="1"/>
          <p:nvPr/>
        </p:nvSpPr>
        <p:spPr>
          <a:xfrm>
            <a:off x="4088976" y="1346330"/>
            <a:ext cx="3256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Сбор доказательств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913BB2-8023-871B-9768-73E38ACAAE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767" y="2189865"/>
            <a:ext cx="7976537" cy="4646386"/>
          </a:xfrm>
          <a:prstGeom prst="rect">
            <a:avLst/>
          </a:prstGeom>
        </p:spPr>
      </p:pic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BB99D41E-CFBE-F37A-AA3A-671A8D197636}"/>
              </a:ext>
            </a:extLst>
          </p:cNvPr>
          <p:cNvSpPr/>
          <p:nvPr/>
        </p:nvSpPr>
        <p:spPr>
          <a:xfrm>
            <a:off x="6096000" y="1905716"/>
            <a:ext cx="5452223" cy="966338"/>
          </a:xfrm>
          <a:prstGeom prst="wedgeRectCallout">
            <a:avLst>
              <a:gd name="adj1" fmla="val -36367"/>
              <a:gd name="adj2" fmla="val 79095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Количество наших действующих партнёрств с работодателями, которые продолжаются не менее трёх лет</a:t>
            </a:r>
            <a:endParaRPr lang="en-GB">
              <a:solidFill>
                <a:srgbClr val="4C565C"/>
              </a:solidFill>
            </a:endParaRP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8A0AC56B-1FD4-8AA9-AB88-5F2BD1AC7C3F}"/>
              </a:ext>
            </a:extLst>
          </p:cNvPr>
          <p:cNvSpPr/>
          <p:nvPr/>
        </p:nvSpPr>
        <p:spPr>
          <a:xfrm>
            <a:off x="3621264" y="4707103"/>
            <a:ext cx="1483897" cy="497817"/>
          </a:xfrm>
          <a:prstGeom prst="wedgeRectCallout">
            <a:avLst>
              <a:gd name="adj1" fmla="val -95028"/>
              <a:gd name="adj2" fmla="val -125129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Ответ</a:t>
            </a:r>
            <a:r>
              <a:rPr lang="en-GB">
                <a:solidFill>
                  <a:srgbClr val="4C565C"/>
                </a:solidFill>
              </a:rPr>
              <a:t> - N</a:t>
            </a:r>
          </a:p>
        </p:txBody>
      </p:sp>
    </p:spTree>
    <p:extLst>
      <p:ext uri="{BB962C8B-B14F-4D97-AF65-F5344CB8AC3E}">
        <p14:creationId xmlns:p14="http://schemas.microsoft.com/office/powerpoint/2010/main" val="110728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F82BE-00F9-389D-8C61-BE4DCDFD8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F1BD972F-81B6-B15C-7D88-8AE54D54F7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5E7027-9B42-FA50-7BB9-BE8CEBD79E1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1898AE3-C1EE-C652-E6B2-8719C52D8596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75D86C0-4C5C-345A-04A3-DB04577FB64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36FF35C-86E5-BAE1-D93C-32008AE0AFD6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Проведение самооценки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1B22360-E9E0-75E5-E455-713F1C8896D2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9F0A30B8-2883-6764-8129-D3D899D43F99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0159559-82E4-06E7-860E-0EBD76D358EF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2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D0EB593-94CE-0D91-DC1D-BF1F9BEBB9D4}"/>
              </a:ext>
            </a:extLst>
          </p:cNvPr>
          <p:cNvSpPr txBox="1"/>
          <p:nvPr/>
        </p:nvSpPr>
        <p:spPr>
          <a:xfrm>
            <a:off x="4073986" y="1600989"/>
            <a:ext cx="33698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Сбор доказательств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2596B7-1D34-ECDE-CE65-0B609BD3AB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24209"/>
            <a:ext cx="13431720" cy="4703268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0EB42383-87F7-2958-674A-FD869346ECEB}"/>
              </a:ext>
            </a:extLst>
          </p:cNvPr>
          <p:cNvSpPr/>
          <p:nvPr/>
        </p:nvSpPr>
        <p:spPr>
          <a:xfrm>
            <a:off x="4073986" y="3317941"/>
            <a:ext cx="8118014" cy="1122156"/>
          </a:xfrm>
          <a:prstGeom prst="wedgeRectCallout">
            <a:avLst>
              <a:gd name="adj1" fmla="val -24901"/>
              <a:gd name="adj2" fmla="val -95791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>
                <a:solidFill>
                  <a:srgbClr val="4C565C"/>
                </a:solidFill>
              </a:rPr>
              <a:t>Стажировка, которую я проходил(а) на предприятии в рамках моей программы обучения в школе [название школы], помогла мне отработать и улучшить навыки, необходимые для моей профессиональной подготовки.</a:t>
            </a:r>
            <a:endParaRPr lang="en-GB">
              <a:solidFill>
                <a:srgbClr val="4C565C"/>
              </a:solidFill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2590CAB2-6864-4C40-FEE0-1C0FD88FC0D7}"/>
              </a:ext>
            </a:extLst>
          </p:cNvPr>
          <p:cNvSpPr/>
          <p:nvPr/>
        </p:nvSpPr>
        <p:spPr>
          <a:xfrm>
            <a:off x="3719617" y="4545274"/>
            <a:ext cx="5124737" cy="1788573"/>
          </a:xfrm>
          <a:prstGeom prst="wedgeRectCallout">
            <a:avLst>
              <a:gd name="adj1" fmla="val -83941"/>
              <a:gd name="adj2" fmla="val -44968"/>
            </a:avLst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4C565C"/>
                </a:solidFill>
              </a:rPr>
              <a:t>Полностью согласен(н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4C565C"/>
                </a:solidFill>
              </a:rPr>
              <a:t>Скорее согласен(н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4C565C"/>
                </a:solidFill>
              </a:rPr>
              <a:t>Ни согласен(на), ни не согласен(н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4C565C"/>
                </a:solidFill>
              </a:rPr>
              <a:t>Скорее не согласен(н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4C565C"/>
                </a:solidFill>
              </a:rPr>
              <a:t>Полностью не согласен(н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4C565C"/>
                </a:solidFill>
              </a:rPr>
              <a:t>Не применимо</a:t>
            </a:r>
            <a:endParaRPr lang="en-GB">
              <a:solidFill>
                <a:srgbClr val="4C56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1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3C25BA-E0C7-0669-204B-07E599FE9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2078A1-9025-F6A2-DBE8-19D4D14D68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143672" cy="4342682"/>
          </a:xfr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0E845D-F64A-83B2-BE59-21D75E472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DA806B-2FC5-6377-ED20-41B23A37C3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063552" cy="6285957"/>
          </a:xfrm>
        </p:spPr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CF90B4D-7AEE-02F0-B38F-D5D45A688630}"/>
              </a:ext>
            </a:extLst>
          </p:cNvPr>
          <p:cNvCxnSpPr>
            <a:cxnSpLocks/>
          </p:cNvCxnSpPr>
          <p:nvPr/>
        </p:nvCxnSpPr>
        <p:spPr>
          <a:xfrm>
            <a:off x="2064600" y="1124744"/>
            <a:ext cx="9432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E95A8BAE-608B-D63B-7AC5-6D137A1BC9D1}"/>
              </a:ext>
            </a:extLst>
          </p:cNvPr>
          <p:cNvSpPr txBox="1">
            <a:spLocks/>
          </p:cNvSpPr>
          <p:nvPr/>
        </p:nvSpPr>
        <p:spPr>
          <a:xfrm>
            <a:off x="2064600" y="441870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3200">
                <a:solidFill>
                  <a:srgbClr val="000000"/>
                </a:solidFill>
              </a:rPr>
              <a:t>Профессиональное мастерство в системе ПОО</a:t>
            </a:r>
            <a:endParaRPr lang="en-GB" sz="3200">
              <a:solidFill>
                <a:srgbClr val="000000"/>
              </a:solidFill>
            </a:endParaRPr>
          </a:p>
        </p:txBody>
      </p:sp>
      <p:graphicFrame>
        <p:nvGraphicFramePr>
          <p:cNvPr id="4" name="TextBox 11">
            <a:extLst>
              <a:ext uri="{FF2B5EF4-FFF2-40B4-BE49-F238E27FC236}">
                <a16:creationId xmlns:a16="http://schemas.microsoft.com/office/drawing/2014/main" id="{D2E74F5C-E193-4F71-054D-7F2F883920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6854004"/>
              </p:ext>
            </p:extLst>
          </p:nvPr>
        </p:nvGraphicFramePr>
        <p:xfrm>
          <a:off x="2063552" y="1700808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542241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17004B-9689-99C5-8256-F4B8308E6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02413A04-4D79-5A7F-9DEE-13C398C9F3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C0D278D-5140-FA54-016D-B01FC70DDD0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E0B798E-400B-01CE-1305-7408EAFE3C3E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C05D6D1-F72B-F7AD-D60F-7C9BDC54330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2F04B53-91DB-96AE-9226-292E92FB0843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Проведение самооценки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8808C9F-BF4E-4AAC-3292-A14BC06F1AEB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7EB1D9E7-672F-93EE-481A-E32D74FF4AC3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1CD1D87-FE8D-5BA0-31AF-F8B5121FEC97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ТАП</a:t>
              </a:r>
              <a:r>
                <a:rPr lang="en-GB" sz="2000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2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7EB2E4A-550F-F7C8-5F9E-7EAA784B8F43}"/>
              </a:ext>
            </a:extLst>
          </p:cNvPr>
          <p:cNvSpPr txBox="1"/>
          <p:nvPr/>
        </p:nvSpPr>
        <p:spPr>
          <a:xfrm>
            <a:off x="4073986" y="1600989"/>
            <a:ext cx="28055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Критерии оценки</a:t>
            </a:r>
            <a:endParaRPr lang="en-GB" sz="2800">
              <a:solidFill>
                <a:schemeClr val="accent2"/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170894-7C57-20AC-65E8-5302D7A93032}"/>
              </a:ext>
            </a:extLst>
          </p:cNvPr>
          <p:cNvSpPr txBox="1"/>
          <p:nvPr/>
        </p:nvSpPr>
        <p:spPr>
          <a:xfrm>
            <a:off x="9694120" y="4467992"/>
            <a:ext cx="2592169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200" b="1">
                <a:solidFill>
                  <a:schemeClr val="bg1"/>
                </a:solidFill>
                <a:ea typeface="+mn-lt"/>
                <a:cs typeface="Arial" panose="020B0604020202020204" pitchFamily="34" charset="0"/>
              </a:rPr>
              <a:t>Performance in VET Excellence</a:t>
            </a:r>
          </a:p>
        </p:txBody>
      </p:sp>
      <p:sp>
        <p:nvSpPr>
          <p:cNvPr id="45" name="Google Shape;435;p21">
            <a:extLst>
              <a:ext uri="{FF2B5EF4-FFF2-40B4-BE49-F238E27FC236}">
                <a16:creationId xmlns:a16="http://schemas.microsoft.com/office/drawing/2014/main" id="{34D192C7-B976-54F5-EA0B-79FCAF8E7CD2}"/>
              </a:ext>
            </a:extLst>
          </p:cNvPr>
          <p:cNvSpPr/>
          <p:nvPr/>
        </p:nvSpPr>
        <p:spPr>
          <a:xfrm>
            <a:off x="718944" y="5134518"/>
            <a:ext cx="2941745" cy="40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250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Instrument Sans"/>
                <a:cs typeface="Arial" panose="020B0604020202020204" pitchFamily="34" charset="0"/>
                <a:sym typeface="Instrument Sans"/>
              </a:rPr>
              <a:t>Панель мониторинга </a:t>
            </a:r>
            <a:r>
              <a:rPr lang="en-GB" sz="16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Instrument Sans"/>
                <a:cs typeface="Arial" panose="020B0604020202020204" pitchFamily="34" charset="0"/>
                <a:sym typeface="Instrument Sans"/>
              </a:rPr>
              <a:t>ISATCOVE</a:t>
            </a:r>
            <a:endParaRPr sz="1600" b="1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Instrument Sans"/>
              <a:cs typeface="Arial" panose="020B0604020202020204" pitchFamily="34" charset="0"/>
              <a:sym typeface="Instrument Sans"/>
            </a:endParaRPr>
          </a:p>
        </p:txBody>
      </p:sp>
      <p:sp>
        <p:nvSpPr>
          <p:cNvPr id="46" name="Google Shape;437;p21">
            <a:extLst>
              <a:ext uri="{FF2B5EF4-FFF2-40B4-BE49-F238E27FC236}">
                <a16:creationId xmlns:a16="http://schemas.microsoft.com/office/drawing/2014/main" id="{7B1A71AE-148D-5E43-AF79-4A7DA6037CC9}"/>
              </a:ext>
            </a:extLst>
          </p:cNvPr>
          <p:cNvSpPr/>
          <p:nvPr/>
        </p:nvSpPr>
        <p:spPr>
          <a:xfrm>
            <a:off x="845090" y="1992101"/>
            <a:ext cx="2941745" cy="400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250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21" b="1">
                <a:solidFill>
                  <a:srgbClr val="002060"/>
                </a:solidFill>
                <a:latin typeface="Arial" panose="020B0604020202020204" pitchFamily="34" charset="0"/>
                <a:ea typeface="Instrument Sans"/>
                <a:cs typeface="Arial" panose="020B0604020202020204" pitchFamily="34" charset="0"/>
                <a:sym typeface="Instrument Sans"/>
              </a:rPr>
              <a:t>Анализ доказательств</a:t>
            </a:r>
            <a:endParaRPr sz="1821">
              <a:solidFill>
                <a:srgbClr val="002060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7" name="Google Shape;439;p21">
            <a:extLst>
              <a:ext uri="{FF2B5EF4-FFF2-40B4-BE49-F238E27FC236}">
                <a16:creationId xmlns:a16="http://schemas.microsoft.com/office/drawing/2014/main" id="{45E681C3-8C54-B22A-81D4-F519367C9650}"/>
              </a:ext>
            </a:extLst>
          </p:cNvPr>
          <p:cNvSpPr/>
          <p:nvPr/>
        </p:nvSpPr>
        <p:spPr>
          <a:xfrm>
            <a:off x="4704856" y="2964416"/>
            <a:ext cx="2673179" cy="523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250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21" b="1">
                <a:solidFill>
                  <a:srgbClr val="002060"/>
                </a:solidFill>
                <a:latin typeface="Arial" panose="020B0604020202020204" pitchFamily="34" charset="0"/>
                <a:ea typeface="Instrument Sans"/>
                <a:cs typeface="Arial" panose="020B0604020202020204" pitchFamily="34" charset="0"/>
                <a:sym typeface="Instrument Sans"/>
              </a:rPr>
              <a:t>Оценка по критериям</a:t>
            </a:r>
            <a:endParaRPr sz="1821" b="1">
              <a:solidFill>
                <a:srgbClr val="002060"/>
              </a:solidFill>
              <a:latin typeface="Arial" panose="020B0604020202020204" pitchFamily="34" charset="0"/>
              <a:ea typeface="Instrument Sans"/>
              <a:cs typeface="Arial" panose="020B0604020202020204" pitchFamily="34" charset="0"/>
              <a:sym typeface="Instrument San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EA6CDAF-39C6-D99E-41C9-5BC50A179FC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0758" t="14709" r="10741" b="15640"/>
          <a:stretch>
            <a:fillRect/>
          </a:stretch>
        </p:blipFill>
        <p:spPr>
          <a:xfrm>
            <a:off x="845090" y="2783883"/>
            <a:ext cx="2463803" cy="21600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60CA0F8-9049-9994-39FE-B384FE48E59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1958"/>
          <a:stretch>
            <a:fillRect/>
          </a:stretch>
        </p:blipFill>
        <p:spPr>
          <a:xfrm>
            <a:off x="4073986" y="3642363"/>
            <a:ext cx="6304893" cy="2160000"/>
          </a:xfrm>
          <a:prstGeom prst="rect">
            <a:avLst/>
          </a:prstGeom>
        </p:spPr>
      </p:pic>
      <p:pic>
        <p:nvPicPr>
          <p:cNvPr id="53" name="Picture 2" descr="Vettoriale Stock Doodle black arrow icon on white background. flat style. arrow  icon for your web site design, logo, app, UI. arrow indicated the direction  symbol. curved arrow sign. | Adobe Stock">
            <a:extLst>
              <a:ext uri="{FF2B5EF4-FFF2-40B4-BE49-F238E27FC236}">
                <a16:creationId xmlns:a16="http://schemas.microsoft.com/office/drawing/2014/main" id="{DEE58462-AEC8-2DD3-B281-44B984B771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70000"/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584" t="17292" r="14722" b="13750"/>
          <a:stretch/>
        </p:blipFill>
        <p:spPr bwMode="auto">
          <a:xfrm rot="10150744" flipH="1" flipV="1">
            <a:off x="3575442" y="2259287"/>
            <a:ext cx="786540" cy="7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E55568-9F4E-1838-B1A5-560A7ABADF48}"/>
              </a:ext>
            </a:extLst>
          </p:cNvPr>
          <p:cNvGrpSpPr/>
          <p:nvPr/>
        </p:nvGrpSpPr>
        <p:grpSpPr>
          <a:xfrm>
            <a:off x="8603866" y="1381854"/>
            <a:ext cx="2825216" cy="2016308"/>
            <a:chOff x="8204394" y="880453"/>
            <a:chExt cx="2825216" cy="201630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6C8007F-C661-D3D9-ED9D-9FC50D836690}"/>
                </a:ext>
              </a:extLst>
            </p:cNvPr>
            <p:cNvGrpSpPr/>
            <p:nvPr/>
          </p:nvGrpSpPr>
          <p:grpSpPr>
            <a:xfrm>
              <a:off x="8204394" y="880453"/>
              <a:ext cx="2825216" cy="2016308"/>
              <a:chOff x="-449000" y="1981513"/>
              <a:chExt cx="4140069" cy="3762620"/>
            </a:xfrm>
          </p:grpSpPr>
          <p:sp>
            <p:nvSpPr>
              <p:cNvPr id="8" name="Flowchart: Connector 7">
                <a:extLst>
                  <a:ext uri="{FF2B5EF4-FFF2-40B4-BE49-F238E27FC236}">
                    <a16:creationId xmlns:a16="http://schemas.microsoft.com/office/drawing/2014/main" id="{F5F432EB-D500-2301-D513-4BDBB3F13DF1}"/>
                  </a:ext>
                </a:extLst>
              </p:cNvPr>
              <p:cNvSpPr/>
              <p:nvPr/>
            </p:nvSpPr>
            <p:spPr>
              <a:xfrm rot="4975327">
                <a:off x="-146276" y="1728855"/>
                <a:ext cx="3584687" cy="4090003"/>
              </a:xfrm>
              <a:prstGeom prst="flowChartConnector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" name="Flowchart: Connector 8">
                <a:extLst>
                  <a:ext uri="{FF2B5EF4-FFF2-40B4-BE49-F238E27FC236}">
                    <a16:creationId xmlns:a16="http://schemas.microsoft.com/office/drawing/2014/main" id="{66CE31AB-C0B4-5F7A-D895-312AD999FA55}"/>
                  </a:ext>
                </a:extLst>
              </p:cNvPr>
              <p:cNvSpPr/>
              <p:nvPr/>
            </p:nvSpPr>
            <p:spPr>
              <a:xfrm rot="4975327">
                <a:off x="-196345" y="1906791"/>
                <a:ext cx="3584687" cy="4089997"/>
              </a:xfrm>
              <a:prstGeom prst="flowChartConnector">
                <a:avLst/>
              </a:prstGeom>
              <a:noFill/>
              <a:ln w="19050">
                <a:solidFill>
                  <a:srgbClr val="71C27B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50FDC1B-4C65-4220-7A19-6577AE42A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alphaModFix amt="85000"/>
            </a:blip>
            <a:stretch>
              <a:fillRect/>
            </a:stretch>
          </p:blipFill>
          <p:spPr>
            <a:xfrm>
              <a:off x="8252560" y="995169"/>
              <a:ext cx="2717672" cy="1800000"/>
            </a:xfrm>
            <a:prstGeom prst="ellipse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901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D3A73-B168-53A3-3182-A364F5F31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670E610-C54E-1345-DBF4-4E667966EC63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23F1D885-9F54-2F0F-C437-7E9E9759D1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F9499501-76AE-9E2B-EE53-D82FE26D76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1F54C6-9B4F-0CF9-703B-E0B6120219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1BFFB9-1120-98D9-95B7-CB0332D7FB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7AE987F-4E66-BBDD-971B-9F110EF4A4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A3882D8B-DAA8-9E6D-9AAD-4AFB794EBD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B9B93EEB-3322-711C-024C-FA641C1582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F10186A-7669-03E3-DF46-3DFBBD893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03EC3C-FAA1-6340-E6CF-78A42E63E8FB}"/>
              </a:ext>
            </a:extLst>
          </p:cNvPr>
          <p:cNvSpPr txBox="1"/>
          <p:nvPr/>
        </p:nvSpPr>
        <p:spPr>
          <a:xfrm>
            <a:off x="824630" y="1445712"/>
            <a:ext cx="6096000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GB">
              <a:cs typeface="Arial"/>
            </a:endParaRPr>
          </a:p>
          <a:p>
            <a:pPr algn="ctr"/>
            <a:r>
              <a:rPr lang="en-GB" sz="3600" b="1" err="1">
                <a:ea typeface="+mn-lt"/>
                <a:cs typeface="+mn-lt"/>
              </a:rPr>
              <a:t>Ресурсы</a:t>
            </a:r>
            <a:r>
              <a:rPr lang="en-GB" sz="3600" b="1">
                <a:ea typeface="+mn-lt"/>
                <a:cs typeface="+mn-lt"/>
              </a:rPr>
              <a:t> </a:t>
            </a:r>
            <a:r>
              <a:rPr lang="en-GB" sz="3600" b="1" err="1">
                <a:ea typeface="+mn-lt"/>
                <a:cs typeface="+mn-lt"/>
              </a:rPr>
              <a:t>для</a:t>
            </a:r>
            <a:r>
              <a:rPr lang="en-GB" sz="3600" b="1">
                <a:ea typeface="+mn-lt"/>
                <a:cs typeface="+mn-lt"/>
              </a:rPr>
              <a:t> </a:t>
            </a:r>
            <a:r>
              <a:rPr lang="en-GB" sz="3600" b="1" err="1">
                <a:ea typeface="+mn-lt"/>
                <a:cs typeface="+mn-lt"/>
              </a:rPr>
              <a:t>профессионального</a:t>
            </a:r>
            <a:r>
              <a:rPr lang="en-GB" sz="3600" b="1">
                <a:ea typeface="+mn-lt"/>
                <a:cs typeface="+mn-lt"/>
              </a:rPr>
              <a:t> </a:t>
            </a:r>
            <a:r>
              <a:rPr lang="en-GB" sz="3600" b="1" err="1">
                <a:ea typeface="+mn-lt"/>
                <a:cs typeface="+mn-lt"/>
              </a:rPr>
              <a:t>мастерства</a:t>
            </a:r>
            <a:endParaRPr lang="en-GB" sz="3600" b="1">
              <a:cs typeface="Arial"/>
            </a:endParaRPr>
          </a:p>
          <a:p>
            <a:pPr algn="ctr"/>
            <a:endParaRPr lang="en-GB" sz="3600" b="1">
              <a:cs typeface="Arial"/>
            </a:endParaRPr>
          </a:p>
          <a:p>
            <a:pPr algn="ctr"/>
            <a:r>
              <a:rPr lang="en-GB" sz="3600" b="1">
                <a:cs typeface="Arial"/>
              </a:rPr>
              <a:t>Resources for Vocational Excellence</a:t>
            </a:r>
            <a:endParaRPr lang="en-GB" b="1">
              <a:cs typeface="Arial" panose="020B0604020202020204"/>
            </a:endParaRPr>
          </a:p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5707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F7449-A8FA-217A-FA1A-017426FDA7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8E009924-AA6C-7FBF-642C-52A1C94C94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343A909-6352-FB5F-E201-54E1B8BD225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75E1677-E3E5-F96E-2732-4706466E71C6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EDC62EF3-98B6-B596-28BB-54F33E364D8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6389CC-37E9-73BA-B4A2-366462317813}"/>
              </a:ext>
            </a:extLst>
          </p:cNvPr>
          <p:cNvGrpSpPr/>
          <p:nvPr/>
        </p:nvGrpSpPr>
        <p:grpSpPr>
          <a:xfrm>
            <a:off x="3843967" y="1616191"/>
            <a:ext cx="6172507" cy="4117065"/>
            <a:chOff x="4128801" y="1811292"/>
            <a:chExt cx="6172507" cy="411706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62D02F6-43A8-C76B-1A8D-96B3B282B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28801" y="2328357"/>
              <a:ext cx="5494264" cy="3600000"/>
            </a:xfrm>
            <a:prstGeom prst="rect">
              <a:avLst/>
            </a:prstGeom>
          </p:spPr>
        </p:pic>
        <p:pic>
          <p:nvPicPr>
            <p:cNvPr id="4" name="Picture 3" descr="A certificate of excellence with stars and text&#10;&#10;Description automatically generated">
              <a:extLst>
                <a:ext uri="{FF2B5EF4-FFF2-40B4-BE49-F238E27FC236}">
                  <a16:creationId xmlns:a16="http://schemas.microsoft.com/office/drawing/2014/main" id="{494A15C1-2D51-7C9C-09CA-3B5CD915A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859563" y="1811292"/>
              <a:ext cx="2441745" cy="1728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E3E27E7-631B-C2A1-AC66-35536DD4FD3D}"/>
                </a:ext>
              </a:extLst>
            </p:cNvPr>
            <p:cNvGrpSpPr/>
            <p:nvPr/>
          </p:nvGrpSpPr>
          <p:grpSpPr>
            <a:xfrm>
              <a:off x="8513415" y="3066757"/>
              <a:ext cx="1440000" cy="1440000"/>
              <a:chOff x="7895269" y="2575615"/>
              <a:chExt cx="1440000" cy="1440000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76A682DA-E0D4-9B40-50EC-BCA888D88909}"/>
                  </a:ext>
                </a:extLst>
              </p:cNvPr>
              <p:cNvSpPr/>
              <p:nvPr/>
            </p:nvSpPr>
            <p:spPr>
              <a:xfrm>
                <a:off x="7895269" y="2575615"/>
                <a:ext cx="1440000" cy="1440000"/>
              </a:xfrm>
              <a:prstGeom prst="roundRect">
                <a:avLst/>
              </a:prstGeom>
              <a:solidFill>
                <a:schemeClr val="bg1"/>
              </a:solidFill>
              <a:ln w="57150">
                <a:solidFill>
                  <a:srgbClr val="16419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12" name="Picture 11" descr="A black background with a black square&#10;&#10;AI-generated content may be incorrect.">
                <a:extLst>
                  <a:ext uri="{FF2B5EF4-FFF2-40B4-BE49-F238E27FC236}">
                    <a16:creationId xmlns:a16="http://schemas.microsoft.com/office/drawing/2014/main" id="{9292CE2E-6971-0865-660C-8EB531A3A8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985269" y="2665615"/>
                <a:ext cx="1260000" cy="1260000"/>
              </a:xfrm>
              <a:prstGeom prst="rect">
                <a:avLst/>
              </a:prstGeom>
            </p:spPr>
          </p:pic>
        </p:grpSp>
      </p:grpSp>
      <p:sp>
        <p:nvSpPr>
          <p:cNvPr id="8" name="Title 2">
            <a:extLst>
              <a:ext uri="{FF2B5EF4-FFF2-40B4-BE49-F238E27FC236}">
                <a16:creationId xmlns:a16="http://schemas.microsoft.com/office/drawing/2014/main" id="{CEF7E7EC-8568-2DF3-C621-22B748630BE2}"/>
              </a:ext>
            </a:extLst>
          </p:cNvPr>
          <p:cNvSpPr txBox="1">
            <a:spLocks/>
          </p:cNvSpPr>
          <p:nvPr/>
        </p:nvSpPr>
        <p:spPr>
          <a:xfrm>
            <a:off x="1454227" y="441870"/>
            <a:ext cx="10042373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Проект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en-GB" err="1">
                <a:solidFill>
                  <a:schemeClr val="accent2"/>
                </a:solidFill>
              </a:rPr>
              <a:t>IntVE</a:t>
            </a:r>
            <a:r>
              <a:rPr lang="en-GB">
                <a:solidFill>
                  <a:srgbClr val="000000"/>
                </a:solidFill>
              </a:rPr>
              <a:t>: </a:t>
            </a:r>
            <a:r>
              <a:rPr lang="ru-RU">
                <a:solidFill>
                  <a:srgbClr val="000000"/>
                </a:solidFill>
              </a:rPr>
              <a:t>поддержка  профессионального 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ru-RU">
                <a:solidFill>
                  <a:srgbClr val="000000"/>
                </a:solidFill>
              </a:rPr>
              <a:t>мастерства в ПОО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AD5F671-217B-811C-69B1-A7BF9275F74A}"/>
              </a:ext>
            </a:extLst>
          </p:cNvPr>
          <p:cNvSpPr txBox="1"/>
          <p:nvPr/>
        </p:nvSpPr>
        <p:spPr>
          <a:xfrm>
            <a:off x="502422" y="2525171"/>
            <a:ext cx="295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164194"/>
              </a:buClr>
              <a:buFont typeface="Wingdings" panose="05000000000000000000" pitchFamily="2" charset="2"/>
              <a:buChar char="§"/>
            </a:pPr>
            <a:r>
              <a:rPr lang="ru-RU" sz="2400" b="1"/>
              <a:t>Признание</a:t>
            </a:r>
            <a:endParaRPr lang="en-GB" sz="2400" b="1"/>
          </a:p>
        </p:txBody>
      </p:sp>
    </p:spTree>
    <p:extLst>
      <p:ext uri="{BB962C8B-B14F-4D97-AF65-F5344CB8AC3E}">
        <p14:creationId xmlns:p14="http://schemas.microsoft.com/office/powerpoint/2010/main" val="322515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BE05AD-4C4D-9003-AB9C-811E4501CF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9506FC0F-D5EE-B5D4-44E8-DF86EA6DA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F824C9E-4135-0A4D-F4BE-627304DC0D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7263" y="2021171"/>
            <a:ext cx="4924665" cy="45427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FFB9750-29C6-B98F-5AA6-250CFA97EF2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54F165-2A0E-96A0-E028-DE1A2FFC4C2C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206070E5-3DFA-7D5A-C49F-9F8FF1913696}"/>
              </a:ext>
            </a:extLst>
          </p:cNvPr>
          <p:cNvSpPr txBox="1"/>
          <p:nvPr/>
        </p:nvSpPr>
        <p:spPr>
          <a:xfrm>
            <a:off x="475417" y="2539595"/>
            <a:ext cx="2952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164194"/>
              </a:buClr>
              <a:buFont typeface="Wingdings" panose="05000000000000000000" pitchFamily="2" charset="2"/>
              <a:buChar char="§"/>
            </a:pPr>
            <a:r>
              <a:rPr lang="ru-RU" sz="2400" b="1"/>
              <a:t>Знания</a:t>
            </a:r>
            <a:endParaRPr lang="en-GB" sz="2400" b="1"/>
          </a:p>
          <a:p>
            <a:pPr marL="457200" indent="-457200">
              <a:buClr>
                <a:srgbClr val="164194"/>
              </a:buClr>
              <a:buFont typeface="Wingdings" panose="05000000000000000000" pitchFamily="2" charset="2"/>
              <a:buChar char="§"/>
            </a:pPr>
            <a:endParaRPr lang="en-GB" sz="2400" b="1"/>
          </a:p>
          <a:p>
            <a:pPr marL="457200" indent="-457200">
              <a:buClr>
                <a:srgbClr val="164194"/>
              </a:buClr>
              <a:buFont typeface="Wingdings" panose="05000000000000000000" pitchFamily="2" charset="2"/>
              <a:buChar char="§"/>
            </a:pPr>
            <a:r>
              <a:rPr lang="ru-RU" sz="2400" b="1"/>
              <a:t>Ресурсы</a:t>
            </a:r>
            <a:endParaRPr lang="en-GB" sz="2400" b="1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CB0B662-9D98-26E2-E337-DBF0736A62F8}"/>
              </a:ext>
            </a:extLst>
          </p:cNvPr>
          <p:cNvGrpSpPr/>
          <p:nvPr/>
        </p:nvGrpSpPr>
        <p:grpSpPr>
          <a:xfrm>
            <a:off x="9801850" y="2523843"/>
            <a:ext cx="1800000" cy="1800000"/>
            <a:chOff x="8645256" y="3803497"/>
            <a:chExt cx="1800000" cy="1800000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3FB3B739-61F1-0437-E11D-87867AFC6D0C}"/>
                </a:ext>
              </a:extLst>
            </p:cNvPr>
            <p:cNvSpPr/>
            <p:nvPr/>
          </p:nvSpPr>
          <p:spPr>
            <a:xfrm>
              <a:off x="8645256" y="3803497"/>
              <a:ext cx="1800000" cy="1800000"/>
            </a:xfrm>
            <a:prstGeom prst="roundRect">
              <a:avLst/>
            </a:prstGeom>
            <a:solidFill>
              <a:schemeClr val="bg1"/>
            </a:solidFill>
            <a:ln w="57150">
              <a:solidFill>
                <a:srgbClr val="16419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" name="Picture 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4A325D30-93DB-F661-D187-103EA3DAC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89350" y="3947591"/>
              <a:ext cx="1511811" cy="1511811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860A7AE-52F9-9795-375E-F73766D1359F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1D431FFE-7C73-2BC2-1E78-116680741D85}"/>
              </a:ext>
            </a:extLst>
          </p:cNvPr>
          <p:cNvSpPr txBox="1">
            <a:spLocks/>
          </p:cNvSpPr>
          <p:nvPr/>
        </p:nvSpPr>
        <p:spPr>
          <a:xfrm>
            <a:off x="1178805" y="441870"/>
            <a:ext cx="10317795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Проект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en-GB" err="1">
                <a:solidFill>
                  <a:schemeClr val="accent2"/>
                </a:solidFill>
              </a:rPr>
              <a:t>IntVE</a:t>
            </a:r>
            <a:r>
              <a:rPr lang="en-GB">
                <a:solidFill>
                  <a:srgbClr val="000000"/>
                </a:solidFill>
              </a:rPr>
              <a:t>: </a:t>
            </a:r>
            <a:r>
              <a:rPr lang="ru-RU">
                <a:solidFill>
                  <a:srgbClr val="000000"/>
                </a:solidFill>
              </a:rPr>
              <a:t>поддержка профессионального 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ru-RU">
                <a:solidFill>
                  <a:srgbClr val="000000"/>
                </a:solidFill>
              </a:rPr>
              <a:t>мастерства в ПОО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4DA889-B688-3589-35DC-74AC5648D46E}"/>
              </a:ext>
            </a:extLst>
          </p:cNvPr>
          <p:cNvSpPr txBox="1"/>
          <p:nvPr/>
        </p:nvSpPr>
        <p:spPr>
          <a:xfrm>
            <a:off x="2386858" y="1234527"/>
            <a:ext cx="3346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rgbClr val="164194"/>
                </a:solidFill>
              </a:rPr>
              <a:t>WEB </a:t>
            </a:r>
            <a:r>
              <a:rPr lang="ru-RU" sz="2800" b="1">
                <a:solidFill>
                  <a:srgbClr val="164194"/>
                </a:solidFill>
              </a:rPr>
              <a:t>ПОРТАЛ</a:t>
            </a:r>
            <a:endParaRPr lang="en-GB" sz="2800" b="1">
              <a:solidFill>
                <a:srgbClr val="1641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13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9976F3-4AA6-002B-5F15-327CD8EF6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5E6548E5-51A6-654B-B222-326D4A0DED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4245370-6347-1082-E1A6-71A95E503FD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F9D50D0-72A3-53C1-4270-962C051400FD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75845125-D22D-E502-5A3C-0F55205C5BB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8DBB227-21E1-B3AC-C03D-80D2143F5484}"/>
              </a:ext>
            </a:extLst>
          </p:cNvPr>
          <p:cNvSpPr txBox="1">
            <a:spLocks/>
          </p:cNvSpPr>
          <p:nvPr/>
        </p:nvSpPr>
        <p:spPr>
          <a:xfrm>
            <a:off x="1266940" y="441870"/>
            <a:ext cx="1022966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Проект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en-GB" err="1">
                <a:solidFill>
                  <a:schemeClr val="accent2"/>
                </a:solidFill>
              </a:rPr>
              <a:t>IntVE</a:t>
            </a:r>
            <a:r>
              <a:rPr lang="en-GB">
                <a:solidFill>
                  <a:srgbClr val="000000"/>
                </a:solidFill>
              </a:rPr>
              <a:t>: </a:t>
            </a:r>
            <a:r>
              <a:rPr lang="ru-RU">
                <a:solidFill>
                  <a:srgbClr val="000000"/>
                </a:solidFill>
              </a:rPr>
              <a:t>поддержка профессионального 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ru-RU">
                <a:solidFill>
                  <a:srgbClr val="000000"/>
                </a:solidFill>
              </a:rPr>
              <a:t>мастерства в ПОО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5641463-8A66-E8A5-F4F2-78B3930B33CC}"/>
              </a:ext>
            </a:extLst>
          </p:cNvPr>
          <p:cNvGrpSpPr/>
          <p:nvPr/>
        </p:nvGrpSpPr>
        <p:grpSpPr>
          <a:xfrm>
            <a:off x="8020280" y="3955361"/>
            <a:ext cx="4010139" cy="1849903"/>
            <a:chOff x="4929766" y="4554278"/>
            <a:chExt cx="4010139" cy="184990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4DCEC2A-2522-7885-0126-5B83219924E1}"/>
                </a:ext>
              </a:extLst>
            </p:cNvPr>
            <p:cNvSpPr txBox="1"/>
            <p:nvPr/>
          </p:nvSpPr>
          <p:spPr>
            <a:xfrm>
              <a:off x="5444677" y="4983856"/>
              <a:ext cx="3366650" cy="1420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12100" indent="-342900">
                <a:lnSpc>
                  <a:spcPct val="150000"/>
                </a:lnSpc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Наборы инструментов</a:t>
              </a:r>
              <a:endParaRPr lang="en-GB" sz="2000"/>
            </a:p>
            <a:p>
              <a:pPr marL="512100" indent="-342900">
                <a:lnSpc>
                  <a:spcPct val="150000"/>
                </a:lnSpc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Кейс-</a:t>
              </a:r>
              <a:r>
                <a:rPr lang="ru-RU" sz="2000" err="1"/>
                <a:t>стади</a:t>
              </a:r>
              <a:endParaRPr lang="en-GB" sz="2000"/>
            </a:p>
            <a:p>
              <a:pPr marL="512100" indent="-342900">
                <a:lnSpc>
                  <a:spcPct val="150000"/>
                </a:lnSpc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Учебные ресурсы</a:t>
              </a:r>
              <a:endParaRPr lang="en-GB" sz="200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8DD45A6-67A1-7E5A-42FF-147523D4870F}"/>
                </a:ext>
              </a:extLst>
            </p:cNvPr>
            <p:cNvSpPr txBox="1"/>
            <p:nvPr/>
          </p:nvSpPr>
          <p:spPr>
            <a:xfrm>
              <a:off x="4929766" y="4554278"/>
              <a:ext cx="401013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>
                  <a:solidFill>
                    <a:srgbClr val="164194"/>
                  </a:solidFill>
                </a:rPr>
                <a:t>Электронная библиотека</a:t>
              </a:r>
              <a:endParaRPr lang="en-GB" sz="2400" b="1">
                <a:solidFill>
                  <a:srgbClr val="164194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C09BF0C-14FC-4FEB-6161-5A68D97BDA2F}"/>
              </a:ext>
            </a:extLst>
          </p:cNvPr>
          <p:cNvGrpSpPr/>
          <p:nvPr/>
        </p:nvGrpSpPr>
        <p:grpSpPr>
          <a:xfrm>
            <a:off x="4748099" y="4939352"/>
            <a:ext cx="3547602" cy="1755635"/>
            <a:chOff x="8616280" y="2380256"/>
            <a:chExt cx="3118890" cy="175563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C4C0BF-5E2E-A660-256E-F8C6B7C4E2C7}"/>
                </a:ext>
              </a:extLst>
            </p:cNvPr>
            <p:cNvSpPr txBox="1"/>
            <p:nvPr/>
          </p:nvSpPr>
          <p:spPr>
            <a:xfrm>
              <a:off x="8775365" y="2380256"/>
              <a:ext cx="29598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>
                  <a:solidFill>
                    <a:srgbClr val="164194"/>
                  </a:solidFill>
                </a:rPr>
                <a:t>Кулинарная книга</a:t>
              </a:r>
              <a:endParaRPr lang="en-GB" sz="2400" b="1">
                <a:solidFill>
                  <a:srgbClr val="164194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F5A1112-4864-D0AA-034E-9ABF0F93E505}"/>
                </a:ext>
              </a:extLst>
            </p:cNvPr>
            <p:cNvSpPr txBox="1"/>
            <p:nvPr/>
          </p:nvSpPr>
          <p:spPr>
            <a:xfrm>
              <a:off x="8616280" y="2812452"/>
              <a:ext cx="307415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12100" indent="-342900">
                <a:buClr>
                  <a:srgbClr val="164194"/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Глобальные рецепты совершенства в ПОО</a:t>
              </a:r>
              <a:endParaRPr lang="en-GB" sz="200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0EC9F7B-E89A-F5E3-0166-35C7202EB2B3}"/>
              </a:ext>
            </a:extLst>
          </p:cNvPr>
          <p:cNvSpPr txBox="1"/>
          <p:nvPr/>
        </p:nvSpPr>
        <p:spPr>
          <a:xfrm>
            <a:off x="2386858" y="1234527"/>
            <a:ext cx="3346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rgbClr val="164194"/>
                </a:solidFill>
              </a:rPr>
              <a:t>WEB </a:t>
            </a:r>
            <a:r>
              <a:rPr lang="ru-RU" sz="2800" b="1">
                <a:solidFill>
                  <a:srgbClr val="164194"/>
                </a:solidFill>
              </a:rPr>
              <a:t>ПОРТАЛ</a:t>
            </a:r>
            <a:endParaRPr lang="en-GB" sz="2800" b="1">
              <a:solidFill>
                <a:srgbClr val="164194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FFDDB43-7834-A46B-8E6D-5056C955C55F}"/>
              </a:ext>
            </a:extLst>
          </p:cNvPr>
          <p:cNvGrpSpPr/>
          <p:nvPr/>
        </p:nvGrpSpPr>
        <p:grpSpPr>
          <a:xfrm>
            <a:off x="697004" y="2584625"/>
            <a:ext cx="3541464" cy="2895674"/>
            <a:chOff x="2275695" y="1877489"/>
            <a:chExt cx="3541464" cy="289567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B5337B7-83FA-094A-C421-B177310D3312}"/>
                </a:ext>
              </a:extLst>
            </p:cNvPr>
            <p:cNvGrpSpPr/>
            <p:nvPr/>
          </p:nvGrpSpPr>
          <p:grpSpPr>
            <a:xfrm>
              <a:off x="2275695" y="1877489"/>
              <a:ext cx="3541464" cy="1370736"/>
              <a:chOff x="2190518" y="2357430"/>
              <a:chExt cx="3541464" cy="1370736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9B07064-6144-79E2-180D-31DCA6759188}"/>
                  </a:ext>
                </a:extLst>
              </p:cNvPr>
              <p:cNvSpPr txBox="1"/>
              <p:nvPr/>
            </p:nvSpPr>
            <p:spPr>
              <a:xfrm>
                <a:off x="2265354" y="2357430"/>
                <a:ext cx="334631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>
                    <a:solidFill>
                      <a:srgbClr val="164194"/>
                    </a:solidFill>
                  </a:rPr>
                  <a:t>Пакеты знаний</a:t>
                </a:r>
                <a:endParaRPr lang="en-GB" sz="2400" b="1">
                  <a:solidFill>
                    <a:srgbClr val="164194"/>
                  </a:solidFill>
                </a:endParaRP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B8F335F3-9987-BBF9-CBAF-28454F116E35}"/>
                  </a:ext>
                </a:extLst>
              </p:cNvPr>
              <p:cNvSpPr txBox="1"/>
              <p:nvPr/>
            </p:nvSpPr>
            <p:spPr>
              <a:xfrm>
                <a:off x="2190518" y="2769506"/>
                <a:ext cx="3541464" cy="958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512100" indent="-342900">
                  <a:lnSpc>
                    <a:spcPct val="150000"/>
                  </a:lnSpc>
                  <a:buClr>
                    <a:srgbClr val="164194"/>
                  </a:buClr>
                  <a:buFont typeface="Wingdings" panose="05000000000000000000" pitchFamily="2" charset="2"/>
                  <a:buChar char="§"/>
                </a:pPr>
                <a:r>
                  <a:rPr lang="ru-RU" sz="2000"/>
                  <a:t>Лучшие практики</a:t>
                </a:r>
                <a:endParaRPr lang="en-GB" sz="2000"/>
              </a:p>
              <a:p>
                <a:pPr marL="512100" indent="-342900">
                  <a:lnSpc>
                    <a:spcPct val="150000"/>
                  </a:lnSpc>
                  <a:buClr>
                    <a:srgbClr val="164194"/>
                  </a:buClr>
                  <a:buFont typeface="Wingdings" panose="05000000000000000000" pitchFamily="2" charset="2"/>
                  <a:buChar char="§"/>
                </a:pPr>
                <a:r>
                  <a:rPr lang="ru-RU" sz="2000"/>
                  <a:t>Руководящие принципы</a:t>
                </a:r>
                <a:endParaRPr lang="en-GB" sz="2000"/>
              </a:p>
            </p:txBody>
          </p:sp>
        </p:grpSp>
        <p:pic>
          <p:nvPicPr>
            <p:cNvPr id="28" name="object 16">
              <a:extLst>
                <a:ext uri="{FF2B5EF4-FFF2-40B4-BE49-F238E27FC236}">
                  <a16:creationId xmlns:a16="http://schemas.microsoft.com/office/drawing/2014/main" id="{ED31EA8D-76F5-7AD6-6FAD-B3A8C8CF3EAF}"/>
                </a:ext>
              </a:extLst>
            </p:cNvPr>
            <p:cNvPicPr/>
            <p:nvPr/>
          </p:nvPicPr>
          <p:blipFill>
            <a:blip r:embed="rId6" cstate="print"/>
            <a:srcRect l="6323" t="10802" r="6388" b="9632"/>
            <a:stretch>
              <a:fillRect/>
            </a:stretch>
          </p:blipFill>
          <p:spPr>
            <a:xfrm>
              <a:off x="2350531" y="3412515"/>
              <a:ext cx="2962626" cy="136064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EC423F86-F593-637F-ADD6-4FDF0105CC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0026" y="2410366"/>
            <a:ext cx="2890299" cy="226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72CA21D-3A00-910C-CE04-0A016F979D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0792" y="1324625"/>
            <a:ext cx="2922047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5840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7F88D9-0E47-352F-743E-D36E2C03F4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81FBA8B-D0EB-D5CB-CB65-BBA622D3CDA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42F56C-68CA-7F23-31A3-5B944A0257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230" y="1220678"/>
            <a:ext cx="3401213" cy="1479977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1B2D00A-B26C-06DC-87AA-EF4C3435EA3F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E745319E-264E-117F-D0E8-4941C7DDB5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598186" y="59577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7062C4-C532-B7B8-1889-7EE47759350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134834" y="222570"/>
            <a:ext cx="1729740" cy="648000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FDD08689-779F-AAFF-C539-3C1EAD072088}"/>
              </a:ext>
            </a:extLst>
          </p:cNvPr>
          <p:cNvSpPr txBox="1">
            <a:spLocks/>
          </p:cNvSpPr>
          <p:nvPr/>
        </p:nvSpPr>
        <p:spPr>
          <a:xfrm>
            <a:off x="852744" y="366514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chemeClr val="accent2"/>
                </a:solidFill>
              </a:rPr>
              <a:t>Соединяя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ru-RU">
                <a:solidFill>
                  <a:srgbClr val="000000"/>
                </a:solidFill>
              </a:rPr>
              <a:t>профессиональное мастерство в ПОО</a:t>
            </a:r>
            <a:endParaRPr lang="en-GB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7511AA-151C-039F-0DFB-1AB718E628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3767" y="1378919"/>
            <a:ext cx="6762156" cy="54790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D2FB6DD-2A8F-0C99-57FE-C0C38531C4ED}"/>
              </a:ext>
            </a:extLst>
          </p:cNvPr>
          <p:cNvSpPr txBox="1"/>
          <p:nvPr/>
        </p:nvSpPr>
        <p:spPr>
          <a:xfrm>
            <a:off x="2540942" y="4760739"/>
            <a:ext cx="1966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104</a:t>
            </a:r>
            <a:r>
              <a:rPr lang="en-GB"/>
              <a:t> </a:t>
            </a:r>
            <a:r>
              <a:rPr lang="ru-RU"/>
              <a:t>члена</a:t>
            </a:r>
            <a:endParaRPr lang="en-GB"/>
          </a:p>
          <a:p>
            <a:r>
              <a:rPr lang="en-GB" b="1">
                <a:solidFill>
                  <a:schemeClr val="tx2"/>
                </a:solidFill>
              </a:rPr>
              <a:t>34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ru-RU"/>
              <a:t>стран</a:t>
            </a:r>
            <a:endParaRPr lang="en-GB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7E3F05E-180E-9D16-A6A4-E6B7C1B3C367}"/>
              </a:ext>
            </a:extLst>
          </p:cNvPr>
          <p:cNvSpPr/>
          <p:nvPr/>
        </p:nvSpPr>
        <p:spPr>
          <a:xfrm>
            <a:off x="2411813" y="2699409"/>
            <a:ext cx="1800000" cy="1800000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1641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pic>
        <p:nvPicPr>
          <p:cNvPr id="13" name="Picture 12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03140DB6-CA36-A8D0-54C3-F6B234D1F8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83819" y="2839755"/>
            <a:ext cx="1460719" cy="152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2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8FAFCB-1F49-7905-EA13-C714562290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792E24A-079C-BF0A-3321-17863683270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38591" y="2703547"/>
            <a:ext cx="3159852" cy="2340000"/>
          </a:xfrm>
          <a:prstGeom prst="ellipse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A67010EC-1C0C-DE53-5905-EDEB4C6704F4}"/>
              </a:ext>
            </a:extLst>
          </p:cNvPr>
          <p:cNvSpPr/>
          <p:nvPr/>
        </p:nvSpPr>
        <p:spPr>
          <a:xfrm rot="2417048">
            <a:off x="5534032" y="4653426"/>
            <a:ext cx="185823" cy="1152787"/>
          </a:xfrm>
          <a:prstGeom prst="triangle">
            <a:avLst>
              <a:gd name="adj" fmla="val 30072"/>
            </a:avLst>
          </a:prstGeo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6C50FBF9-A959-16F3-FEED-EE84BAC97214}"/>
              </a:ext>
            </a:extLst>
          </p:cNvPr>
          <p:cNvSpPr/>
          <p:nvPr/>
        </p:nvSpPr>
        <p:spPr>
          <a:xfrm rot="13314958">
            <a:off x="7472416" y="1978081"/>
            <a:ext cx="193471" cy="1516730"/>
          </a:xfrm>
          <a:prstGeom prst="triangle">
            <a:avLst>
              <a:gd name="adj" fmla="val 30072"/>
            </a:avLst>
          </a:prstGeo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1F84932-C499-D802-A245-F7EF8CF83F74}"/>
              </a:ext>
            </a:extLst>
          </p:cNvPr>
          <p:cNvSpPr/>
          <p:nvPr/>
        </p:nvSpPr>
        <p:spPr>
          <a:xfrm rot="6495971">
            <a:off x="4827698" y="2439447"/>
            <a:ext cx="164916" cy="1106303"/>
          </a:xfrm>
          <a:prstGeom prst="triangle">
            <a:avLst>
              <a:gd name="adj" fmla="val 30072"/>
            </a:avLst>
          </a:prstGeo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69A4C0D6-EDC3-1C06-80CE-F3E9A9C25C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4A1C89-1988-1E50-B2BD-EE8121F89B2F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F84EB7-0F18-7E53-DB0F-F6CBC2F7D74F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D526F65-C496-7553-2E3E-C5042FFAB802}"/>
              </a:ext>
            </a:extLst>
          </p:cNvPr>
          <p:cNvGrpSpPr/>
          <p:nvPr/>
        </p:nvGrpSpPr>
        <p:grpSpPr>
          <a:xfrm>
            <a:off x="633429" y="2096827"/>
            <a:ext cx="3424244" cy="3062700"/>
            <a:chOff x="928108" y="2365652"/>
            <a:chExt cx="3424244" cy="3062700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4AF26A1-C0A5-88D2-E8E1-D19CBE5F4C63}"/>
                </a:ext>
              </a:extLst>
            </p:cNvPr>
            <p:cNvGrpSpPr/>
            <p:nvPr/>
          </p:nvGrpSpPr>
          <p:grpSpPr>
            <a:xfrm>
              <a:off x="1098615" y="2365652"/>
              <a:ext cx="3253737" cy="1045252"/>
              <a:chOff x="2329636" y="1476971"/>
              <a:chExt cx="3253737" cy="1045252"/>
            </a:xfrm>
          </p:grpSpPr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C388342B-0D9A-346C-99A2-368053E3F257}"/>
                  </a:ext>
                </a:extLst>
              </p:cNvPr>
              <p:cNvSpPr txBox="1"/>
              <p:nvPr/>
            </p:nvSpPr>
            <p:spPr>
              <a:xfrm>
                <a:off x="2329636" y="1691226"/>
                <a:ext cx="3253737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600" b="1">
                    <a:solidFill>
                      <a:schemeClr val="tx2">
                        <a:lumMod val="50000"/>
                      </a:schemeClr>
                    </a:solidFill>
                  </a:rPr>
                  <a:t>Первый зимний лагерь по профессиональному совершенствованию</a:t>
                </a:r>
                <a:endParaRPr lang="en-GB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0869E676-8AD6-7BF4-9DDD-C780780EC1DB}"/>
                  </a:ext>
                </a:extLst>
              </p:cNvPr>
              <p:cNvSpPr txBox="1"/>
              <p:nvPr/>
            </p:nvSpPr>
            <p:spPr>
              <a:xfrm>
                <a:off x="2690080" y="1476971"/>
                <a:ext cx="25813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b="1">
                    <a:solidFill>
                      <a:schemeClr val="accent2"/>
                    </a:solidFill>
                  </a:rPr>
                  <a:t>Февраль</a:t>
                </a:r>
                <a:r>
                  <a:rPr lang="en-GB" sz="1400" b="1">
                    <a:solidFill>
                      <a:schemeClr val="accent2"/>
                    </a:solidFill>
                  </a:rPr>
                  <a:t> 2025, </a:t>
                </a:r>
                <a:r>
                  <a:rPr lang="ru-RU" sz="1400" b="1">
                    <a:solidFill>
                      <a:schemeClr val="accent2"/>
                    </a:solidFill>
                  </a:rPr>
                  <a:t>Словения</a:t>
                </a:r>
                <a:endParaRPr lang="en-GB" sz="1600">
                  <a:solidFill>
                    <a:schemeClr val="accent2"/>
                  </a:solidFill>
                </a:endParaRPr>
              </a:p>
            </p:txBody>
          </p:sp>
        </p:grpSp>
        <p:pic>
          <p:nvPicPr>
            <p:cNvPr id="60" name="Picture 2" descr="European Training Foundation (ETF) Winter Camp 2025 - European Forum of  Technical and Vocational Education and Training">
              <a:extLst>
                <a:ext uri="{FF2B5EF4-FFF2-40B4-BE49-F238E27FC236}">
                  <a16:creationId xmlns:a16="http://schemas.microsoft.com/office/drawing/2014/main" id="{D6729064-58A3-C8DF-898D-446E53A710D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9" t="9600" r="62393" b="48835"/>
            <a:stretch>
              <a:fillRect/>
            </a:stretch>
          </p:blipFill>
          <p:spPr bwMode="auto">
            <a:xfrm>
              <a:off x="928108" y="3448352"/>
              <a:ext cx="3411928" cy="1980000"/>
            </a:xfrm>
            <a:prstGeom prst="rect">
              <a:avLst/>
            </a:prstGeom>
            <a:ln w="127000" cap="rnd">
              <a:solidFill>
                <a:srgbClr val="FFFFFF"/>
              </a:solidFill>
            </a:ln>
            <a:effectLst>
              <a:outerShdw blurRad="76200" dist="95250" dir="10500000" sx="97000" sy="23000" kx="900000" algn="br" rotWithShape="0">
                <a:srgbClr val="000000">
                  <a:alpha val="20000"/>
                </a:srgbClr>
              </a:outerShdw>
            </a:effectLst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7F1816C-C806-8BA8-CCDD-347E3CCEC60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A94FD8C-9EE0-9D6D-E74B-07346A028A3E}"/>
              </a:ext>
            </a:extLst>
          </p:cNvPr>
          <p:cNvGrpSpPr/>
          <p:nvPr/>
        </p:nvGrpSpPr>
        <p:grpSpPr>
          <a:xfrm>
            <a:off x="8372140" y="1327483"/>
            <a:ext cx="2970000" cy="2821901"/>
            <a:chOff x="8286090" y="2332364"/>
            <a:chExt cx="2970000" cy="282190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7C882B0-0BBA-2BB2-B101-56CAA533AFBA}"/>
                </a:ext>
              </a:extLst>
            </p:cNvPr>
            <p:cNvSpPr txBox="1"/>
            <p:nvPr/>
          </p:nvSpPr>
          <p:spPr>
            <a:xfrm>
              <a:off x="8943148" y="2543162"/>
              <a:ext cx="192588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>
                  <a:solidFill>
                    <a:schemeClr val="tx2">
                      <a:lumMod val="50000"/>
                    </a:schemeClr>
                  </a:solidFill>
                </a:rPr>
                <a:t>Летняя школа на Иссык-Куле</a:t>
              </a:r>
              <a:endParaRPr lang="en-GB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0FB1118-B038-7B2F-D75C-C250AE0125AA}"/>
                </a:ext>
              </a:extLst>
            </p:cNvPr>
            <p:cNvSpPr txBox="1"/>
            <p:nvPr/>
          </p:nvSpPr>
          <p:spPr>
            <a:xfrm>
              <a:off x="8718760" y="2332364"/>
              <a:ext cx="25373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>
                  <a:solidFill>
                    <a:schemeClr val="accent2"/>
                  </a:solidFill>
                </a:rPr>
                <a:t>Август</a:t>
              </a:r>
              <a:r>
                <a:rPr lang="en-GB" sz="1400" b="1">
                  <a:solidFill>
                    <a:schemeClr val="accent2"/>
                  </a:solidFill>
                </a:rPr>
                <a:t> 2025, </a:t>
              </a:r>
              <a:r>
                <a:rPr lang="ru-RU" sz="1400" b="1">
                  <a:solidFill>
                    <a:schemeClr val="accent2"/>
                  </a:solidFill>
                </a:rPr>
                <a:t>Кыргызстан</a:t>
              </a:r>
              <a:endParaRPr lang="en-GB" sz="1600">
                <a:solidFill>
                  <a:schemeClr val="accent2"/>
                </a:solidFill>
              </a:endParaRPr>
            </a:p>
          </p:txBody>
        </p:sp>
        <p:pic>
          <p:nvPicPr>
            <p:cNvPr id="14" name="Picture 2" descr="DARYA summer school on Excellence in Teaching and Learning">
              <a:extLst>
                <a:ext uri="{FF2B5EF4-FFF2-40B4-BE49-F238E27FC236}">
                  <a16:creationId xmlns:a16="http://schemas.microsoft.com/office/drawing/2014/main" id="{A76EB928-1534-56B9-D300-CBA42881B5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6090" y="3174265"/>
              <a:ext cx="2970000" cy="1980000"/>
            </a:xfrm>
            <a:prstGeom prst="rect">
              <a:avLst/>
            </a:prstGeom>
            <a:ln w="127000" cap="rnd">
              <a:solidFill>
                <a:srgbClr val="FFFFFF"/>
              </a:solidFill>
            </a:ln>
            <a:effectLst>
              <a:outerShdw blurRad="76200" dist="95250" dir="10500000" sx="97000" sy="23000" kx="900000" algn="br" rotWithShape="0">
                <a:srgbClr val="000000">
                  <a:alpha val="20000"/>
                </a:srgbClr>
              </a:outerShdw>
            </a:effectLst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ADA7028-5FEF-6837-CD9D-F14EB0B082AA}"/>
              </a:ext>
            </a:extLst>
          </p:cNvPr>
          <p:cNvGrpSpPr/>
          <p:nvPr/>
        </p:nvGrpSpPr>
        <p:grpSpPr>
          <a:xfrm>
            <a:off x="2583379" y="5598591"/>
            <a:ext cx="4031507" cy="1066808"/>
            <a:chOff x="4745119" y="5463352"/>
            <a:chExt cx="4031507" cy="106680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6C579BC-4338-BE1F-97B3-D2094DA90EA7}"/>
                </a:ext>
              </a:extLst>
            </p:cNvPr>
            <p:cNvSpPr txBox="1"/>
            <p:nvPr/>
          </p:nvSpPr>
          <p:spPr>
            <a:xfrm>
              <a:off x="4745119" y="5699163"/>
              <a:ext cx="403150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>
                  <a:solidFill>
                    <a:schemeClr val="tx2">
                      <a:lumMod val="50000"/>
                    </a:schemeClr>
                  </a:solidFill>
                </a:rPr>
                <a:t>Лагерь по центрам профессионального совершенства в Африке</a:t>
              </a:r>
              <a:endParaRPr lang="en-GB" sz="1600" b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99079EB-5CBF-278D-F903-449FE56C4896}"/>
                </a:ext>
              </a:extLst>
            </p:cNvPr>
            <p:cNvSpPr txBox="1"/>
            <p:nvPr/>
          </p:nvSpPr>
          <p:spPr>
            <a:xfrm>
              <a:off x="5481217" y="5463352"/>
              <a:ext cx="237466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>
                  <a:solidFill>
                    <a:schemeClr val="accent2"/>
                  </a:solidFill>
                </a:rPr>
                <a:t>Танзания</a:t>
              </a:r>
              <a:endParaRPr lang="en-GB" sz="1400">
                <a:solidFill>
                  <a:schemeClr val="accent2"/>
                </a:solidFill>
              </a:endParaRPr>
            </a:p>
          </p:txBody>
        </p:sp>
      </p:grpSp>
      <p:sp>
        <p:nvSpPr>
          <p:cNvPr id="75" name="Oval 74">
            <a:extLst>
              <a:ext uri="{FF2B5EF4-FFF2-40B4-BE49-F238E27FC236}">
                <a16:creationId xmlns:a16="http://schemas.microsoft.com/office/drawing/2014/main" id="{7169DB88-A5FF-8A37-B6A6-E2C09A808E4E}"/>
              </a:ext>
            </a:extLst>
          </p:cNvPr>
          <p:cNvSpPr/>
          <p:nvPr/>
        </p:nvSpPr>
        <p:spPr>
          <a:xfrm>
            <a:off x="7930076" y="2043384"/>
            <a:ext cx="252000" cy="252000"/>
          </a:xfrm>
          <a:prstGeom prst="ellipse">
            <a:avLst/>
          </a:prstGeom>
          <a:solidFill>
            <a:srgbClr val="C000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D4F0AB8-5634-A689-0D69-21EB07F1A5C6}"/>
              </a:ext>
            </a:extLst>
          </p:cNvPr>
          <p:cNvSpPr/>
          <p:nvPr/>
        </p:nvSpPr>
        <p:spPr>
          <a:xfrm>
            <a:off x="4260091" y="2683632"/>
            <a:ext cx="252000" cy="252000"/>
          </a:xfrm>
          <a:prstGeom prst="ellipse">
            <a:avLst/>
          </a:prstGeom>
          <a:solidFill>
            <a:srgbClr val="C000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72F22885-EE13-0108-E40B-78CA486AABCF}"/>
              </a:ext>
            </a:extLst>
          </p:cNvPr>
          <p:cNvSpPr/>
          <p:nvPr/>
        </p:nvSpPr>
        <p:spPr>
          <a:xfrm>
            <a:off x="5133320" y="5506291"/>
            <a:ext cx="252000" cy="252000"/>
          </a:xfrm>
          <a:prstGeom prst="ellipse">
            <a:avLst/>
          </a:prstGeom>
          <a:solidFill>
            <a:srgbClr val="C000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3" name="Picture 92" descr="A note with writing on it&#10;&#10;AI-generated content may be incorrect.">
            <a:extLst>
              <a:ext uri="{FF2B5EF4-FFF2-40B4-BE49-F238E27FC236}">
                <a16:creationId xmlns:a16="http://schemas.microsoft.com/office/drawing/2014/main" id="{E2CCFAC9-180B-F21A-1AB6-5C1F89ADF7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426" t="20928" r="7426" b="14600"/>
          <a:stretch/>
        </p:blipFill>
        <p:spPr>
          <a:xfrm>
            <a:off x="7194643" y="4562617"/>
            <a:ext cx="2512693" cy="216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87D5FFC9-8A08-EDC6-AC50-1CBF8BA9C31A}"/>
              </a:ext>
            </a:extLst>
          </p:cNvPr>
          <p:cNvSpPr txBox="1">
            <a:spLocks/>
          </p:cNvSpPr>
          <p:nvPr/>
        </p:nvSpPr>
        <p:spPr>
          <a:xfrm>
            <a:off x="936434" y="441870"/>
            <a:ext cx="10560166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Развитие</a:t>
            </a:r>
            <a:r>
              <a:rPr lang="en-GB">
                <a:solidFill>
                  <a:srgbClr val="000000"/>
                </a:solidFill>
              </a:rPr>
              <a:t> </a:t>
            </a:r>
            <a:r>
              <a:rPr lang="ru-RU">
                <a:solidFill>
                  <a:schemeClr val="accent2"/>
                </a:solidFill>
              </a:rPr>
              <a:t>потенциала</a:t>
            </a:r>
            <a:r>
              <a:rPr lang="en-GB">
                <a:solidFill>
                  <a:schemeClr val="accent2"/>
                </a:solidFill>
              </a:rPr>
              <a:t> </a:t>
            </a:r>
            <a:r>
              <a:rPr lang="ru-RU"/>
              <a:t>для профессионального мастерства  в ПОО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D7403D-B295-CEEC-394F-3DA7D64AB502}"/>
              </a:ext>
            </a:extLst>
          </p:cNvPr>
          <p:cNvSpPr txBox="1"/>
          <p:nvPr/>
        </p:nvSpPr>
        <p:spPr>
          <a:xfrm rot="20309399">
            <a:off x="3159178" y="5184121"/>
            <a:ext cx="14523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>
                <a:solidFill>
                  <a:srgbClr val="C00000"/>
                </a:solidFill>
              </a:rPr>
              <a:t>Предстоящее</a:t>
            </a:r>
            <a:r>
              <a:rPr lang="en-GB" sz="1400" b="1">
                <a:solidFill>
                  <a:srgbClr val="C00000"/>
                </a:solidFill>
              </a:rPr>
              <a:t> 25-27 </a:t>
            </a:r>
            <a:r>
              <a:rPr lang="ru-RU" sz="1400" b="1">
                <a:solidFill>
                  <a:srgbClr val="C00000"/>
                </a:solidFill>
              </a:rPr>
              <a:t>марта</a:t>
            </a:r>
            <a:endParaRPr lang="en-GB" sz="16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26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EBD5B1-AD4E-DC89-A306-0C7CA46D74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4E1BDAF-C296-796E-8548-2F95A2C6AFDB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F2ED22E-8CAC-EA2E-DC22-AA4CAE2B3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CD48ECC2-56A4-088D-56B9-271A3CCD10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267C2AC-B90A-69EA-8F29-679B0171B7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C4FF64-BCF6-E3C0-E2CA-C0FCD8FAA2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8D29549-16DA-D086-5D76-EF85557545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B7EC8C94-DD2F-6E69-9F91-9EB78A8D31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E37699E9-CB27-442E-37F5-D16E1F1007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289C68C-4111-9DFA-0CCA-22AF44E3F5DD}"/>
              </a:ext>
            </a:extLst>
          </p:cNvPr>
          <p:cNvSpPr txBox="1"/>
          <p:nvPr/>
        </p:nvSpPr>
        <p:spPr>
          <a:xfrm>
            <a:off x="-116229" y="1352125"/>
            <a:ext cx="7361854" cy="5162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" sz="4000" b="1" kern="100">
              <a:solidFill>
                <a:srgbClr val="455560"/>
              </a:solidFill>
              <a:latin typeface="Arial"/>
              <a:ea typeface="Roboto"/>
              <a:cs typeface="Arial"/>
            </a:endParaRPr>
          </a:p>
          <a:p>
            <a:pPr algn="ctr"/>
            <a:r>
              <a:rPr lang="en-US" sz="4000" b="1">
                <a:cs typeface="Arial"/>
              </a:rPr>
              <a:t>13:00 – 13:45</a:t>
            </a:r>
          </a:p>
          <a:p>
            <a:pPr algn="ctr"/>
            <a:r>
              <a:rPr lang="en-US" sz="4000" b="1" err="1">
                <a:cs typeface="Arial"/>
              </a:rPr>
              <a:t>Обед</a:t>
            </a:r>
            <a:endParaRPr lang="en-US" sz="4000" err="1">
              <a:cs typeface="Arial"/>
            </a:endParaRPr>
          </a:p>
          <a:p>
            <a:pPr algn="ctr"/>
            <a:endParaRPr lang="en-US" sz="4000" b="1">
              <a:cs typeface="Arial" panose="020B0604020202020204"/>
            </a:endParaRPr>
          </a:p>
          <a:p>
            <a:pPr algn="ctr"/>
            <a:r>
              <a:rPr lang="en-US" sz="4000" b="1">
                <a:cs typeface="Arial" panose="020B0604020202020204"/>
              </a:rPr>
              <a:t>13:00 – 13:45 </a:t>
            </a:r>
          </a:p>
          <a:p>
            <a:pPr algn="ctr"/>
            <a:r>
              <a:rPr lang="en-US" sz="4000" b="1">
                <a:cs typeface="Arial" panose="020B0604020202020204"/>
              </a:rPr>
              <a:t>Lunch</a:t>
            </a:r>
          </a:p>
          <a:p>
            <a:pPr algn="ctr"/>
            <a:endParaRPr lang="en-US" sz="4000" b="1">
              <a:cs typeface="Arial" panose="020B0604020202020204"/>
            </a:endParaRPr>
          </a:p>
          <a:p>
            <a:pPr algn="ctr"/>
            <a:endParaRPr lang="en-US" sz="4000" b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978213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D7507-E0B0-EC3D-E444-B656E211E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Slide Number Placeholder 1">
            <a:extLst>
              <a:ext uri="{FF2B5EF4-FFF2-40B4-BE49-F238E27FC236}">
                <a16:creationId xmlns:a16="http://schemas.microsoft.com/office/drawing/2014/main" id="{D5887ED2-B3EE-7B4D-C4AD-0F0B434A8A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sp>
        <p:nvSpPr>
          <p:cNvPr id="1044" name="Slide Number Placeholder 1">
            <a:extLst>
              <a:ext uri="{FF2B5EF4-FFF2-40B4-BE49-F238E27FC236}">
                <a16:creationId xmlns:a16="http://schemas.microsoft.com/office/drawing/2014/main" id="{CD87DBAA-1B83-DED5-CBDF-EE7FC61E5C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pic>
        <p:nvPicPr>
          <p:cNvPr id="1032" name="Picture 8" descr="Page 2 | People Images - Free Download on Freepik">
            <a:extLst>
              <a:ext uri="{FF2B5EF4-FFF2-40B4-BE49-F238E27FC236}">
                <a16:creationId xmlns:a16="http://schemas.microsoft.com/office/drawing/2014/main" id="{C4563862-2AC8-D7BE-69A6-193254F216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0" r="3022" b="-1"/>
          <a:stretch>
            <a:fillRect/>
          </a:stretch>
        </p:blipFill>
        <p:spPr bwMode="auto">
          <a:xfrm>
            <a:off x="20" y="-13402"/>
            <a:ext cx="904830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956BDEE-B60F-70A0-BADE-DCE1524C6635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D29AF5-0849-AB99-889A-8588FE2E5F8D}"/>
              </a:ext>
            </a:extLst>
          </p:cNvPr>
          <p:cNvSpPr txBox="1"/>
          <p:nvPr/>
        </p:nvSpPr>
        <p:spPr>
          <a:xfrm>
            <a:off x="5603990" y="2489906"/>
            <a:ext cx="7361854" cy="33297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" sz="3600" b="1" kern="100">
                <a:ea typeface="+mn-lt"/>
                <a:cs typeface="+mn-lt"/>
              </a:rPr>
              <a:t>Энерджайзер</a:t>
            </a:r>
            <a:endParaRPr lang="en-US" sz="3600" b="1">
              <a:ea typeface="+mn-lt"/>
              <a:cs typeface="+mn-lt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" sz="3600" b="1" kern="100" err="1">
                <a:latin typeface="Arial"/>
                <a:ea typeface="Roboto"/>
                <a:cs typeface="Arial"/>
              </a:rPr>
              <a:t>Energizer</a:t>
            </a:r>
            <a:endParaRPr lang="en-US" sz="3600" err="1">
              <a:cs typeface="Arial"/>
            </a:endParaRPr>
          </a:p>
          <a:p>
            <a:pPr algn="ctr"/>
            <a:endParaRPr lang="en-US" sz="4000" b="1">
              <a:cs typeface="Arial"/>
            </a:endParaRPr>
          </a:p>
          <a:p>
            <a:pPr algn="ctr"/>
            <a:endParaRPr lang="en-US" sz="4000" b="1">
              <a:cs typeface="Arial"/>
            </a:endParaRPr>
          </a:p>
          <a:p>
            <a:pPr algn="ctr"/>
            <a:endParaRPr lang="en-US" sz="400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85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4A48F-9B9F-ABCB-7412-5916E0970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F4B3632-4823-B3D3-1292-FA60294F6608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DCA05F7A-4AAD-6954-2BCD-39032DB498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DD035464-9171-353C-8D0F-04651830BB5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31F21B5-4BA1-BD1D-16DC-3D9057F926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410F5B-C666-641C-EAD7-C78E422D50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53DF6D-9E85-BF83-7FDB-B43110DE5F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6FD8DF68-E64E-D5D1-880A-A8115857F6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970E5439-07FE-A8C7-CEB9-91A426E9BA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FA146DE5-7473-F8AB-1921-CF25178DD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139" y="1168065"/>
            <a:ext cx="6696744" cy="3407803"/>
          </a:xfrm>
        </p:spPr>
        <p:txBody>
          <a:bodyPr>
            <a:noAutofit/>
          </a:bodyPr>
          <a:lstStyle/>
          <a:p>
            <a:pPr algn="ctr"/>
            <a:r>
              <a:rPr lang="en-GB" sz="3600" b="1" err="1">
                <a:ea typeface="+mj-lt"/>
                <a:cs typeface="+mj-lt"/>
              </a:rPr>
              <a:t>Cессия</a:t>
            </a:r>
            <a:r>
              <a:rPr lang="en-GB" sz="3600" b="1">
                <a:ea typeface="+mj-lt"/>
                <a:cs typeface="+mj-lt"/>
              </a:rPr>
              <a:t> </a:t>
            </a:r>
            <a:r>
              <a:rPr lang="en-GB" sz="3600" b="1" err="1">
                <a:ea typeface="+mj-lt"/>
                <a:cs typeface="+mj-lt"/>
              </a:rPr>
              <a:t>взаимного</a:t>
            </a:r>
            <a:r>
              <a:rPr lang="en-GB" sz="3600" b="1">
                <a:ea typeface="+mj-lt"/>
                <a:cs typeface="+mj-lt"/>
              </a:rPr>
              <a:t> </a:t>
            </a:r>
            <a:r>
              <a:rPr lang="en-GB" sz="3600" b="1" err="1">
                <a:ea typeface="+mj-lt"/>
                <a:cs typeface="+mj-lt"/>
              </a:rPr>
              <a:t>обучения</a:t>
            </a:r>
            <a:br>
              <a:rPr lang="en-GB" sz="3600" b="1"/>
            </a:br>
            <a:endParaRPr lang="en-GB" sz="3600" b="1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F39F8D-0D35-FD39-69A0-856EAD43DE4F}"/>
              </a:ext>
            </a:extLst>
          </p:cNvPr>
          <p:cNvSpPr txBox="1"/>
          <p:nvPr/>
        </p:nvSpPr>
        <p:spPr>
          <a:xfrm>
            <a:off x="730686" y="3345493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600" b="1">
                <a:latin typeface="Arial"/>
                <a:cs typeface="Segoe UI"/>
              </a:rPr>
              <a:t>Peer learning session</a:t>
            </a:r>
            <a:endParaRPr lang="en-US" sz="3600" b="1">
              <a:cs typeface="Arial"/>
            </a:endParaRPr>
          </a:p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5728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081B5-F58C-D2A7-6374-CA89A2D806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54623-7D51-A16C-8EB7-A6E6C73F41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143672" cy="4342682"/>
          </a:xfr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5AB95E-6EB3-F14E-34A5-D5DB599EDB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3E2129-A4BD-9DE6-BE36-7690174F32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063552" cy="6285957"/>
          </a:xfrm>
        </p:spPr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AA57259-4067-331A-F2E7-880D0C0C72E6}"/>
              </a:ext>
            </a:extLst>
          </p:cNvPr>
          <p:cNvCxnSpPr>
            <a:cxnSpLocks/>
          </p:cNvCxnSpPr>
          <p:nvPr/>
        </p:nvCxnSpPr>
        <p:spPr>
          <a:xfrm>
            <a:off x="2064600" y="1124744"/>
            <a:ext cx="9432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60793540-C565-C06D-F091-0B8579BD858C}"/>
              </a:ext>
            </a:extLst>
          </p:cNvPr>
          <p:cNvSpPr txBox="1">
            <a:spLocks/>
          </p:cNvSpPr>
          <p:nvPr/>
        </p:nvSpPr>
        <p:spPr>
          <a:xfrm>
            <a:off x="2064600" y="441870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ПОО как катализатор развития экосистем навыков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EB6692-F97A-4BE3-8EC6-19536AD9D22B}"/>
              </a:ext>
            </a:extLst>
          </p:cNvPr>
          <p:cNvSpPr txBox="1"/>
          <p:nvPr/>
        </p:nvSpPr>
        <p:spPr>
          <a:xfrm>
            <a:off x="2829893" y="4295160"/>
            <a:ext cx="7900368" cy="1685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400"/>
              <a:t>Обучение, соответствующее требованиям отрасли</a:t>
            </a:r>
          </a:p>
          <a:p>
            <a:pPr marL="285750" indent="-28575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400"/>
              <a:t>Адаптивность</a:t>
            </a:r>
            <a:endParaRPr lang="en-US" sz="2400"/>
          </a:p>
          <a:p>
            <a:pPr marL="285750" indent="-28575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400"/>
              <a:t>Инновации</a:t>
            </a:r>
            <a:endParaRPr lang="en-US" sz="240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4DC99BE-FCF6-71C7-74B7-2CDD8B40C23F}"/>
              </a:ext>
            </a:extLst>
          </p:cNvPr>
          <p:cNvGrpSpPr/>
          <p:nvPr/>
        </p:nvGrpSpPr>
        <p:grpSpPr>
          <a:xfrm>
            <a:off x="2279576" y="1881071"/>
            <a:ext cx="8728960" cy="2171341"/>
            <a:chOff x="2390153" y="2515316"/>
            <a:chExt cx="8728960" cy="217134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0CC04E3-7E3F-E600-C89F-E23A1276BE26}"/>
                </a:ext>
              </a:extLst>
            </p:cNvPr>
            <p:cNvGrpSpPr/>
            <p:nvPr/>
          </p:nvGrpSpPr>
          <p:grpSpPr>
            <a:xfrm>
              <a:off x="2390153" y="2515316"/>
              <a:ext cx="8728960" cy="2171341"/>
              <a:chOff x="2429803" y="3164906"/>
              <a:chExt cx="8728960" cy="2160000"/>
            </a:xfrm>
          </p:grpSpPr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FEE401F4-1DF6-13C5-5159-796850E488D5}"/>
                  </a:ext>
                </a:extLst>
              </p:cNvPr>
              <p:cNvSpPr/>
              <p:nvPr/>
            </p:nvSpPr>
            <p:spPr>
              <a:xfrm>
                <a:off x="2429803" y="3239297"/>
                <a:ext cx="2808312" cy="126000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800" b="1"/>
                  <a:t>Образование</a:t>
                </a:r>
                <a:endParaRPr lang="en-GB" sz="2800" b="1"/>
              </a:p>
            </p:txBody>
          </p:sp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D81DD463-89F7-CE8A-0549-0F808953CBE0}"/>
                  </a:ext>
                </a:extLst>
              </p:cNvPr>
              <p:cNvSpPr/>
              <p:nvPr/>
            </p:nvSpPr>
            <p:spPr>
              <a:xfrm>
                <a:off x="8350451" y="4031385"/>
                <a:ext cx="2808312" cy="126000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800" b="1"/>
                  <a:t>Рынок труда</a:t>
                </a:r>
                <a:endParaRPr lang="en-GB" sz="2800" b="1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AA833F5B-D148-BA73-65DB-F5B839BDE7B6}"/>
                  </a:ext>
                </a:extLst>
              </p:cNvPr>
              <p:cNvSpPr/>
              <p:nvPr/>
            </p:nvSpPr>
            <p:spPr>
              <a:xfrm>
                <a:off x="5750406" y="3164906"/>
                <a:ext cx="2160000" cy="2160000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3600" b="1"/>
                  <a:t>ПОО</a:t>
                </a:r>
                <a:endParaRPr lang="en-GB" sz="3600" b="1"/>
              </a:p>
            </p:txBody>
          </p:sp>
        </p:grpSp>
        <p:cxnSp>
          <p:nvCxnSpPr>
            <p:cNvPr id="14" name="Connector: Elbow 13">
              <a:extLst>
                <a:ext uri="{FF2B5EF4-FFF2-40B4-BE49-F238E27FC236}">
                  <a16:creationId xmlns:a16="http://schemas.microsoft.com/office/drawing/2014/main" id="{DBD313E2-5448-A33A-859A-265619429D02}"/>
                </a:ext>
              </a:extLst>
            </p:cNvPr>
            <p:cNvCxnSpPr>
              <a:cxnSpLocks/>
              <a:stCxn id="4" idx="3"/>
              <a:endCxn id="10" idx="2"/>
            </p:cNvCxnSpPr>
            <p:nvPr/>
          </p:nvCxnSpPr>
          <p:spPr>
            <a:xfrm>
              <a:off x="5198465" y="3223406"/>
              <a:ext cx="512291" cy="377581"/>
            </a:xfrm>
            <a:prstGeom prst="bentConnector3">
              <a:avLst>
                <a:gd name="adj1" fmla="val 44972"/>
              </a:avLst>
            </a:prstGeom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Elbow 18">
              <a:extLst>
                <a:ext uri="{FF2B5EF4-FFF2-40B4-BE49-F238E27FC236}">
                  <a16:creationId xmlns:a16="http://schemas.microsoft.com/office/drawing/2014/main" id="{2EAD6D11-23A8-9446-FAEA-CF31F4CF156C}"/>
                </a:ext>
              </a:extLst>
            </p:cNvPr>
            <p:cNvCxnSpPr>
              <a:cxnSpLocks/>
              <a:stCxn id="10" idx="6"/>
              <a:endCxn id="5" idx="1"/>
            </p:cNvCxnSpPr>
            <p:nvPr/>
          </p:nvCxnSpPr>
          <p:spPr>
            <a:xfrm>
              <a:off x="7870756" y="3600987"/>
              <a:ext cx="440045" cy="418665"/>
            </a:xfrm>
            <a:prstGeom prst="bentConnector3">
              <a:avLst/>
            </a:prstGeom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0233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44513662" name="Titre 1"/>
          <p:cNvSpPr>
            <a:spLocks noGrp="1"/>
          </p:cNvSpPr>
          <p:nvPr>
            <p:ph type="ctrTitle"/>
          </p:nvPr>
        </p:nvSpPr>
        <p:spPr bwMode="auto">
          <a:xfrm>
            <a:off x="5740399" y="1312591"/>
            <a:ext cx="4927599" cy="2197371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" sz="4800" b="0" err="1"/>
              <a:t>Technobel</a:t>
            </a:r>
            <a:br>
              <a:rPr lang="fr-FR" sz="4800" b="0"/>
            </a:br>
            <a:br>
              <a:rPr lang="fr-FR" sz="4800" b="0"/>
            </a:br>
            <a:r>
              <a:rPr lang="ru-RU" sz="4800"/>
              <a:t>Мы создатели</a:t>
            </a:r>
            <a:endParaRPr/>
          </a:p>
        </p:txBody>
      </p:sp>
      <p:sp>
        <p:nvSpPr>
          <p:cNvPr id="1214660846" name="Sous-titre 2"/>
          <p:cNvSpPr>
            <a:spLocks noGrp="1"/>
          </p:cNvSpPr>
          <p:nvPr>
            <p:ph type="subTitle" idx="1"/>
          </p:nvPr>
        </p:nvSpPr>
        <p:spPr bwMode="auto"/>
        <p:txBody>
          <a:bodyPr/>
          <a:lstStyle/>
          <a:p>
            <a:pPr>
              <a:defRPr/>
            </a:pPr>
            <a:r>
              <a:rPr lang="fr-FR"/>
              <a:t> 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640571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BB6CA-6608-8D5B-0ECD-B403805ABD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8A0F3E0-5D1A-1DC7-978E-EC5732E30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Кто я?</a:t>
            </a:r>
            <a:endParaRPr lang="fr-FR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4198B251-ACD3-F628-12B0-B1F5F1F62295}"/>
              </a:ext>
            </a:extLst>
          </p:cNvPr>
          <p:cNvSpPr/>
          <p:nvPr/>
        </p:nvSpPr>
        <p:spPr>
          <a:xfrm>
            <a:off x="4167403" y="1523017"/>
            <a:ext cx="855406" cy="89965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cs typeface="Arial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932D5CB-60D2-01E1-9C9C-BFD56912F2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523017"/>
            <a:ext cx="4257532" cy="425753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D139DA4-BD55-5B48-259B-94EBA782222E}"/>
              </a:ext>
            </a:extLst>
          </p:cNvPr>
          <p:cNvSpPr/>
          <p:nvPr/>
        </p:nvSpPr>
        <p:spPr>
          <a:xfrm>
            <a:off x="4094480" y="777240"/>
            <a:ext cx="8097519" cy="5486400"/>
          </a:xfrm>
          <a:prstGeom prst="rect">
            <a:avLst/>
          </a:prstGeom>
          <a:solidFill>
            <a:srgbClr val="0C3C5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 PT Book" panose="020B0502020204020303" pitchFamily="34" charset="77"/>
                <a:cs typeface="Arial"/>
              </a:rPr>
              <a:t>Симон </a:t>
            </a:r>
            <a:r>
              <a:rPr kumimoji="0" lang="ru-RU" sz="2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 PT Book" panose="020B0502020204020303" pitchFamily="34" charset="77"/>
                <a:cs typeface="Arial"/>
              </a:rPr>
              <a:t>Фюзилье</a:t>
            </a: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 PT Book" panose="020B0502020204020303" pitchFamily="34" charset="77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Магистр по социальной инженерии</a:t>
            </a:r>
            <a:endParaRPr kumimoji="0" lang="fr-BE" sz="2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Сертификат в области международного развития и сотрудничества</a:t>
            </a:r>
            <a:endParaRPr kumimoji="0" lang="fr-BE" sz="2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Руководитель проектов</a:t>
            </a:r>
            <a:endParaRPr kumimoji="0" lang="fr-BE" sz="2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cs typeface="Arial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Член команды педагогической координации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Фокус на качестве, инновациях и развитии навыков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Работает в сфере проектирования обучения, признания навыков и согласования с потребностями рынка труда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Участвует в международном сотрудничестве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Энтузиаст движения «создатели» — превращение идей в объекты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Визуальный рассказчик: видео и фотография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Обучение через практику… и иногда через ошибки</a:t>
            </a:r>
            <a:r>
              <a:rPr kumimoji="0" lang="fr-BE" sz="2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 </a:t>
            </a:r>
            <a:r>
              <a:rPr kumimoji="0" lang="fr-BE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rPr>
              <a:t>😉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64775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0585387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Повестка</a:t>
            </a:r>
            <a:endParaRPr/>
          </a:p>
        </p:txBody>
      </p:sp>
      <p:sp>
        <p:nvSpPr>
          <p:cNvPr id="871483738" name="Espace réservé du contenu 2"/>
          <p:cNvSpPr>
            <a:spLocks noGrp="1"/>
          </p:cNvSpPr>
          <p:nvPr>
            <p:ph idx="1"/>
          </p:nvPr>
        </p:nvSpPr>
        <p:spPr bwMode="auto"/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normAutofit fontScale="90000" lnSpcReduction="20000"/>
          </a:bodyPr>
          <a:lstStyle/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Общая характеристика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Финансирование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Педагогические инновации — «Мы создатели»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Технологическая экспертиза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Партнерства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Устойчивое развитие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Наши учебные мероприятия</a:t>
            </a:r>
          </a:p>
          <a:p>
            <a:pPr>
              <a:lnSpc>
                <a:spcPct val="150000"/>
              </a:lnSpc>
              <a:defRPr/>
            </a:pPr>
            <a:r>
              <a:rPr lang="ru-RU" err="1">
                <a:latin typeface="Amboy Black"/>
                <a:ea typeface="Amboy Black"/>
                <a:cs typeface="Amboy Black"/>
              </a:rPr>
              <a:t>IsatCOVE</a:t>
            </a:r>
            <a:endParaRPr lang="ru-RU">
              <a:latin typeface="Amboy Black"/>
              <a:ea typeface="Amboy Black"/>
              <a:cs typeface="Amboy Black"/>
            </a:endParaRP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Валидация навыков</a:t>
            </a:r>
          </a:p>
          <a:p>
            <a:pPr>
              <a:lnSpc>
                <a:spcPct val="150000"/>
              </a:lnSpc>
              <a:defRPr/>
            </a:pPr>
            <a:r>
              <a:rPr lang="ru-RU">
                <a:latin typeface="Amboy Black"/>
                <a:ea typeface="Amboy Black"/>
                <a:cs typeface="Amboy Black"/>
              </a:rPr>
              <a:t>Мониторинг потребностей ИТ-сектора</a:t>
            </a:r>
          </a:p>
          <a:p>
            <a:pPr>
              <a:lnSpc>
                <a:spcPct val="150000"/>
              </a:lnSpc>
              <a:defRPr/>
            </a:pPr>
            <a:r>
              <a:rPr lang="en-US">
                <a:latin typeface="Amboy Black"/>
                <a:ea typeface="Amboy Black"/>
                <a:cs typeface="Amboy Black"/>
              </a:rPr>
              <a:t>Play-Zone</a:t>
            </a:r>
            <a:endParaRPr/>
          </a:p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3193305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rgbClr val="7EBFC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43423772" name="ZoneTexte 1"/>
          <p:cNvSpPr txBox="1"/>
          <p:nvPr/>
        </p:nvSpPr>
        <p:spPr bwMode="auto">
          <a:xfrm>
            <a:off x="929115" y="544628"/>
            <a:ext cx="6522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boy Black"/>
                <a:cs typeface="Arial"/>
              </a:rPr>
              <a:t>Общая характеристика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  <p:pic>
        <p:nvPicPr>
          <p:cNvPr id="280804379" name="Image 29571972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041649" y="325471"/>
            <a:ext cx="8820149" cy="590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2758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4817227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Бельгия</a:t>
            </a:r>
            <a:endParaRPr/>
          </a:p>
        </p:txBody>
      </p:sp>
      <p:sp>
        <p:nvSpPr>
          <p:cNvPr id="977222319" name="Espace réservé du contenu 2"/>
          <p:cNvSpPr>
            <a:spLocks noGrp="1"/>
          </p:cNvSpPr>
          <p:nvPr>
            <p:ph idx="1"/>
          </p:nvPr>
        </p:nvSpPr>
        <p:spPr bwMode="auto">
          <a:xfrm>
            <a:off x="838199" y="1532965"/>
            <a:ext cx="3807691" cy="3310505"/>
          </a:xfrm>
        </p:spPr>
        <p:txBody>
          <a:bodyPr>
            <a:normAutofit fontScale="92500" lnSpcReduction="20000"/>
          </a:bodyPr>
          <a:lstStyle/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000"/>
              <a:t>Площадь </a:t>
            </a:r>
            <a:r>
              <a:rPr lang="fr-FR" sz="2000"/>
              <a:t>30 688 km2</a:t>
            </a:r>
            <a:br>
              <a:rPr lang="fr-FR" altLang="fr-FR" sz="2000"/>
            </a:br>
            <a:r>
              <a:rPr lang="ru-RU" altLang="fr-FR" sz="2000"/>
              <a:t>Население: 12 миллионов человек (2025 г.)</a:t>
            </a:r>
            <a:endParaRPr lang="fr-FR" altLang="fr-FR" sz="2000"/>
          </a:p>
          <a:p>
            <a:pPr marL="0" indent="0">
              <a:buNone/>
              <a:defRPr/>
            </a:pPr>
            <a:endParaRPr lang="fr-FR" altLang="fr-FR" sz="2000"/>
          </a:p>
          <a:p>
            <a:pPr marL="0" indent="0">
              <a:buNone/>
              <a:defRPr/>
            </a:pPr>
            <a:r>
              <a:rPr lang="ru-RU" altLang="fr-FR" sz="2000"/>
              <a:t>Столица</a:t>
            </a:r>
            <a:r>
              <a:rPr lang="fr-FR" altLang="fr-FR" sz="2000"/>
              <a:t>: </a:t>
            </a:r>
            <a:r>
              <a:rPr lang="ru-RU" altLang="fr-FR" sz="2000"/>
              <a:t>Брюссель</a:t>
            </a:r>
            <a:endParaRPr lang="fr-FR" altLang="fr-FR" sz="2000"/>
          </a:p>
          <a:p>
            <a:pPr marL="0" indent="0" rtl="0">
              <a:buNone/>
              <a:defRPr/>
            </a:pPr>
            <a:r>
              <a:rPr lang="ru-RU" altLang="fr-FR" sz="2000"/>
              <a:t>Столица Европы</a:t>
            </a:r>
            <a:endParaRPr lang="fr-FR" altLang="fr-FR" sz="2000"/>
          </a:p>
          <a:p>
            <a:pPr marL="0" indent="0" rtl="0">
              <a:buNone/>
              <a:defRPr/>
            </a:pPr>
            <a:endParaRPr lang="fr-FR" altLang="fr-FR" sz="2000"/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fr-FR" sz="2000" b="1"/>
              <a:t>3 официальных языка</a:t>
            </a:r>
            <a:r>
              <a:rPr lang="fr-FR" altLang="fr-FR" sz="2000" b="1"/>
              <a:t>: </a:t>
            </a: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fr-FR" sz="2000"/>
              <a:t>нидерландский, французский и немецкий</a:t>
            </a:r>
            <a:r>
              <a:rPr lang="fr-FR" altLang="fr-FR" sz="2000"/>
              <a:t>.</a:t>
            </a:r>
          </a:p>
          <a:p>
            <a:pPr marL="0" indent="0" rtl="0">
              <a:buNone/>
              <a:defRPr/>
            </a:pPr>
            <a:br>
              <a:rPr lang="fr-FR" altLang="fr-FR" sz="2000"/>
            </a:br>
            <a:endParaRPr lang="fr-FR" altLang="fr-FR" sz="2000"/>
          </a:p>
          <a:p>
            <a:pPr marL="0" indent="0" rtl="0">
              <a:buNone/>
              <a:defRPr/>
            </a:pPr>
            <a:endParaRPr lang="fr-FR" sz="200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9E1C8F5-A0DB-A624-3891-2F166B27D6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9681" y="1027906"/>
            <a:ext cx="7772400" cy="518160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C459616-EED5-44CC-4E0C-9F333299053B}"/>
              </a:ext>
            </a:extLst>
          </p:cNvPr>
          <p:cNvSpPr txBox="1"/>
          <p:nvPr/>
        </p:nvSpPr>
        <p:spPr>
          <a:xfrm>
            <a:off x="3761579" y="126951"/>
            <a:ext cx="2058593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  <a:t>🇧🇪</a:t>
            </a: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  <p:pic>
        <p:nvPicPr>
          <p:cNvPr id="9" name="Image 8" descr="Une image contenant carte, texte&#10;&#10;Le contenu généré par l’IA peut être incorrect.">
            <a:extLst>
              <a:ext uri="{FF2B5EF4-FFF2-40B4-BE49-F238E27FC236}">
                <a16:creationId xmlns:a16="http://schemas.microsoft.com/office/drawing/2014/main" id="{C13056EA-C536-7DA2-DDF5-CAE8F651B5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8800" y="3510782"/>
            <a:ext cx="5524884" cy="2959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182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C5838FE-13BF-2E88-7AA2-08D8CDBAB1B0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4817227" name="Titre 1">
            <a:extLst>
              <a:ext uri="{FF2B5EF4-FFF2-40B4-BE49-F238E27FC236}">
                <a16:creationId xmlns:a16="http://schemas.microsoft.com/office/drawing/2014/main" id="{F8091387-1A37-7B14-FC80-EB20E9D88B01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Бельгия</a:t>
            </a:r>
            <a:endParaRPr/>
          </a:p>
        </p:txBody>
      </p:sp>
      <p:pic>
        <p:nvPicPr>
          <p:cNvPr id="3" name="Image 2" descr="Une image contenant carte, atlas, texte&#10;&#10;Le contenu généré par l’IA peut être incorrect.">
            <a:extLst>
              <a:ext uri="{FF2B5EF4-FFF2-40B4-BE49-F238E27FC236}">
                <a16:creationId xmlns:a16="http://schemas.microsoft.com/office/drawing/2014/main" id="{E0D49506-7DFB-4E66-7CAA-FDF1A04010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9769" y="365125"/>
            <a:ext cx="7772400" cy="6363413"/>
          </a:xfrm>
          <a:prstGeom prst="rect">
            <a:avLst/>
          </a:prstGeom>
        </p:spPr>
      </p:pic>
      <p:sp>
        <p:nvSpPr>
          <p:cNvPr id="977222319" name="Espace réservé du contenu 2">
            <a:extLst>
              <a:ext uri="{FF2B5EF4-FFF2-40B4-BE49-F238E27FC236}">
                <a16:creationId xmlns:a16="http://schemas.microsoft.com/office/drawing/2014/main" id="{44E6C9E8-162C-9144-0D69-546B1BDB9F92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838199" y="1385047"/>
            <a:ext cx="4241801" cy="5325035"/>
          </a:xfrm>
        </p:spPr>
        <p:txBody>
          <a:bodyPr>
            <a:normAutofit fontScale="85000" lnSpcReduction="10000"/>
          </a:bodyPr>
          <a:lstStyle/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2000" b="1"/>
              <a:t>3 </a:t>
            </a:r>
            <a:r>
              <a:rPr lang="ru-RU" altLang="fr-FR" sz="2000" b="1"/>
              <a:t>официальных языка</a:t>
            </a:r>
            <a:r>
              <a:rPr lang="fr-FR" altLang="fr-FR" sz="2000" b="1"/>
              <a:t>: </a:t>
            </a: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fr-FR" sz="2000"/>
              <a:t>нидерландский, французский и немецкий</a:t>
            </a:r>
            <a:r>
              <a:rPr lang="fr-FR" altLang="fr-FR" sz="2000"/>
              <a:t>.</a:t>
            </a: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fr-FR" altLang="fr-FR" sz="2000"/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2000">
                <a:latin typeface="Futura PT Medium" panose="020B0602020204020303" pitchFamily="34" charset="77"/>
              </a:rPr>
              <a:t>🤴 </a:t>
            </a:r>
            <a:r>
              <a:rPr lang="ru-RU" altLang="fr-FR" sz="2000">
                <a:latin typeface="Futura PT Medium" panose="020B0602020204020303" pitchFamily="34" charset="77"/>
              </a:rPr>
              <a:t>Король глава государства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 marL="0" indent="0">
              <a:buNone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Федеративное государство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 marL="0" indent="0">
              <a:buNone/>
              <a:defRPr/>
            </a:pPr>
            <a:endParaRPr lang="fr-FR" altLang="fr-FR" sz="2000">
              <a:latin typeface="Futura PT Medium" panose="020B0602020204020303" pitchFamily="34" charset="77"/>
            </a:endParaRPr>
          </a:p>
          <a:p>
            <a:pPr marL="0" indent="0">
              <a:buNone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3 региона (3 правительства)</a:t>
            </a:r>
            <a:r>
              <a:rPr lang="fr-FR" altLang="fr-FR" sz="2000">
                <a:latin typeface="Futura PT Medium" panose="020B0602020204020303" pitchFamily="34" charset="77"/>
              </a:rPr>
              <a:t>: </a:t>
            </a:r>
          </a:p>
          <a:p>
            <a:pPr>
              <a:buFontTx/>
              <a:buChar char="-"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Фландрия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>
              <a:buFontTx/>
              <a:buChar char="-"/>
              <a:defRPr/>
            </a:pPr>
            <a:r>
              <a:rPr lang="ru-RU" altLang="fr-FR" sz="2000" err="1">
                <a:latin typeface="Futura PT Medium" panose="020B0602020204020303" pitchFamily="34" charset="77"/>
              </a:rPr>
              <a:t>Валлония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>
              <a:buFontTx/>
              <a:buChar char="-"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Брюссельский столичный регион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 marL="0" indent="0">
              <a:buNone/>
              <a:defRPr/>
            </a:pPr>
            <a:endParaRPr lang="fr-FR" altLang="fr-FR" sz="2000"/>
          </a:p>
          <a:p>
            <a:pPr marL="0" indent="0">
              <a:buNone/>
              <a:defRPr/>
            </a:pPr>
            <a:r>
              <a:rPr lang="fr-FR" altLang="fr-FR" sz="2000">
                <a:latin typeface="Futura PT Medium" panose="020B0602020204020303" pitchFamily="34" charset="77"/>
              </a:rPr>
              <a:t>3 </a:t>
            </a:r>
            <a:r>
              <a:rPr lang="ru-RU" altLang="fr-FR" sz="2000">
                <a:latin typeface="Futura PT Medium" panose="020B0602020204020303" pitchFamily="34" charset="77"/>
              </a:rPr>
              <a:t>сообщества</a:t>
            </a:r>
            <a:r>
              <a:rPr lang="fr-FR" altLang="fr-FR" sz="2000">
                <a:latin typeface="Futura PT Medium" panose="020B0602020204020303" pitchFamily="34" charset="77"/>
              </a:rPr>
              <a:t> (3 </a:t>
            </a:r>
            <a:r>
              <a:rPr lang="ru-RU" altLang="fr-FR" sz="2000" err="1">
                <a:latin typeface="Futura PT Medium" panose="020B0602020204020303" pitchFamily="34" charset="77"/>
              </a:rPr>
              <a:t>правительтсва</a:t>
            </a:r>
            <a:r>
              <a:rPr lang="fr-FR" altLang="fr-FR" sz="2000">
                <a:latin typeface="Futura PT Medium" panose="020B0602020204020303" pitchFamily="34" charset="77"/>
              </a:rPr>
              <a:t>) : </a:t>
            </a:r>
          </a:p>
          <a:p>
            <a:pPr>
              <a:buFontTx/>
              <a:buChar char="-"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фламандское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>
              <a:buFontTx/>
              <a:buChar char="-"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французское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>
              <a:buFontTx/>
              <a:buChar char="-"/>
              <a:defRPr/>
            </a:pPr>
            <a:r>
              <a:rPr lang="ru-RU" altLang="fr-FR" sz="2000">
                <a:latin typeface="Futura PT Medium" panose="020B0602020204020303" pitchFamily="34" charset="77"/>
              </a:rPr>
              <a:t>немецкоязычное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>
              <a:buFontTx/>
              <a:buChar char="-"/>
              <a:defRPr/>
            </a:pPr>
            <a:endParaRPr lang="fr-FR" altLang="fr-FR" sz="2000">
              <a:latin typeface="Futura PT Medium" panose="020B0602020204020303" pitchFamily="34" charset="77"/>
            </a:endParaRPr>
          </a:p>
          <a:p>
            <a:pPr marL="0" indent="0" rtl="0">
              <a:buNone/>
              <a:defRPr/>
            </a:pPr>
            <a:r>
              <a:rPr lang="fr-FR" altLang="fr-FR" sz="2000">
                <a:latin typeface="Futura PT Medium" panose="020B0602020204020303" pitchFamily="34" charset="77"/>
              </a:rPr>
              <a:t>+ </a:t>
            </a:r>
            <a:r>
              <a:rPr lang="ru-RU" altLang="fr-FR" sz="2000">
                <a:latin typeface="Futura PT Medium" panose="020B0602020204020303" pitchFamily="34" charset="77"/>
              </a:rPr>
              <a:t>провинции</a:t>
            </a:r>
            <a:r>
              <a:rPr lang="fr-FR" altLang="fr-FR" sz="2000">
                <a:latin typeface="Futura PT Medium" panose="020B0602020204020303" pitchFamily="34" charset="77"/>
              </a:rPr>
              <a:t> + </a:t>
            </a:r>
            <a:r>
              <a:rPr lang="ru-RU" altLang="fr-FR" sz="2000">
                <a:latin typeface="Futura PT Medium" panose="020B0602020204020303" pitchFamily="34" charset="77"/>
              </a:rPr>
              <a:t>муниципалитеты</a:t>
            </a:r>
            <a:endParaRPr lang="fr-FR" altLang="fr-FR" sz="2000">
              <a:latin typeface="Futura PT Medium" panose="020B0602020204020303" pitchFamily="34" charset="77"/>
            </a:endParaRPr>
          </a:p>
          <a:p>
            <a:pPr marL="0" indent="0" rtl="0">
              <a:buNone/>
              <a:defRPr/>
            </a:pPr>
            <a:endParaRPr lang="fr-FR" altLang="fr-FR" sz="2000"/>
          </a:p>
        </p:txBody>
      </p:sp>
    </p:spTree>
    <p:extLst>
      <p:ext uri="{BB962C8B-B14F-4D97-AF65-F5344CB8AC3E}">
        <p14:creationId xmlns:p14="http://schemas.microsoft.com/office/powerpoint/2010/main" val="354265252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0DBC9E8-4D17-B8BC-53C9-C9A7BB01CC18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4817227" name="Titre 1">
            <a:extLst>
              <a:ext uri="{FF2B5EF4-FFF2-40B4-BE49-F238E27FC236}">
                <a16:creationId xmlns:a16="http://schemas.microsoft.com/office/drawing/2014/main" id="{81E408DF-91FA-FAC3-3740-992B0CBA8391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Бельгия</a:t>
            </a:r>
            <a:endParaRPr/>
          </a:p>
        </p:txBody>
      </p:sp>
      <p:pic>
        <p:nvPicPr>
          <p:cNvPr id="6" name="Image 5" descr="Une image contenant carte, texte&#10;&#10;Le contenu généré par l’IA peut être incorrect.">
            <a:extLst>
              <a:ext uri="{FF2B5EF4-FFF2-40B4-BE49-F238E27FC236}">
                <a16:creationId xmlns:a16="http://schemas.microsoft.com/office/drawing/2014/main" id="{FA6953D1-F586-D020-FBEF-2D6E44587F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3836" y="365125"/>
            <a:ext cx="7772400" cy="6363413"/>
          </a:xfrm>
          <a:prstGeom prst="rect">
            <a:avLst/>
          </a:prstGeom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6A917376-19F2-4C15-B462-7D0FA34FCB6E}"/>
              </a:ext>
            </a:extLst>
          </p:cNvPr>
          <p:cNvSpPr txBox="1">
            <a:spLocks/>
          </p:cNvSpPr>
          <p:nvPr/>
        </p:nvSpPr>
        <p:spPr bwMode="auto">
          <a:xfrm>
            <a:off x="838199" y="1385047"/>
            <a:ext cx="4241801" cy="532503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>
                <a:solidFill>
                  <a:srgbClr val="064C68"/>
                </a:solidFill>
                <a:latin typeface="Futura PT Book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>
                <a:solidFill>
                  <a:srgbClr val="064C68"/>
                </a:solidFill>
                <a:latin typeface="Futura PT Book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>
                <a:solidFill>
                  <a:srgbClr val="064C68"/>
                </a:solidFill>
                <a:latin typeface="Futura PT Book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>
                <a:solidFill>
                  <a:srgbClr val="064C68"/>
                </a:solidFill>
                <a:latin typeface="Futura PT Book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>
                <a:solidFill>
                  <a:srgbClr val="064C68"/>
                </a:solidFill>
                <a:latin typeface="Futura PT Book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altLang="fr-FR" sz="2000" b="1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Book"/>
                <a:cs typeface="Arial"/>
              </a:rPr>
              <a:t>3 </a:t>
            </a:r>
            <a:r>
              <a:rPr kumimoji="0" lang="ru-RU" altLang="fr-FR" sz="2000" b="1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cs typeface="Arial"/>
              </a:rPr>
              <a:t>официальных языка</a:t>
            </a:r>
            <a:r>
              <a:rPr kumimoji="0" lang="fr-FR" altLang="fr-FR" sz="2000" b="1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Book"/>
                <a:cs typeface="Arial"/>
              </a:rPr>
              <a:t>: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cs typeface="Arial"/>
              </a:rPr>
              <a:t>нидерландский, французский и немецкий</a:t>
            </a: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Book"/>
                <a:cs typeface="Arial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Book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🤴 </a:t>
            </a: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Король глава государства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Федеративное государство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3 региона (3 правительства)</a:t>
            </a: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: </a:t>
            </a: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Фландрия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Валлония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Брюссельский столичный регион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Book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3 </a:t>
            </a: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сообщества</a:t>
            </a: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 (3 </a:t>
            </a: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правительтсва</a:t>
            </a: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) : </a:t>
            </a: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фламандское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французское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немецкоязычное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228600" marR="0" lvl="0" indent="-22860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+ </a:t>
            </a: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провинции</a:t>
            </a:r>
            <a:r>
              <a:rPr kumimoji="0" lang="fr-FR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 + </a:t>
            </a:r>
            <a:r>
              <a:rPr kumimoji="0" lang="ru-RU" altLang="fr-FR" sz="2000" b="0" i="0" u="none" strike="noStrike" kern="0" cap="none" spc="0" normalizeH="0" baseline="0" noProof="0">
                <a:ln>
                  <a:noFill/>
                </a:ln>
                <a:solidFill>
                  <a:srgbClr val="064C68"/>
                </a:solidFill>
                <a:effectLst/>
                <a:uLnTx/>
                <a:uFillTx/>
                <a:latin typeface="Futura PT Medium" panose="020B0602020204020303" pitchFamily="34" charset="77"/>
                <a:cs typeface="Arial"/>
              </a:rPr>
              <a:t>муниципалитеты</a:t>
            </a: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Medium" panose="020B0602020204020303" pitchFamily="34" charset="77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fr-FR" altLang="fr-FR" sz="2000" b="0" i="0" u="none" strike="noStrike" kern="0" cap="none" spc="0" normalizeH="0" baseline="0" noProof="0">
              <a:ln>
                <a:noFill/>
              </a:ln>
              <a:solidFill>
                <a:srgbClr val="064C68"/>
              </a:solidFill>
              <a:effectLst/>
              <a:uLnTx/>
              <a:uFillTx/>
              <a:latin typeface="Futura PT Book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375810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705CB935-9BC0-CF5E-D715-1DB36763936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1291" b="11291"/>
          <a:stretch/>
        </p:blipFill>
        <p:spPr>
          <a:xfrm>
            <a:off x="4493437" y="244"/>
            <a:ext cx="7698564" cy="3346705"/>
          </a:xfrm>
          <a:custGeom>
            <a:avLst/>
            <a:gdLst/>
            <a:ahLst/>
            <a:cxnLst/>
            <a:rect l="l" t="t" r="r" b="b"/>
            <a:pathLst>
              <a:path w="7698564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6451640" y="0"/>
                </a:lnTo>
                <a:lnTo>
                  <a:pt x="6451640" y="479"/>
                </a:lnTo>
                <a:lnTo>
                  <a:pt x="7698564" y="479"/>
                </a:lnTo>
                <a:lnTo>
                  <a:pt x="7698564" y="3346705"/>
                </a:lnTo>
                <a:lnTo>
                  <a:pt x="0" y="3346705"/>
                </a:lnTo>
                <a:close/>
              </a:path>
            </a:pathLst>
          </a:cu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B37232C-FDA9-D5F0-C155-8375EC5E6BE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0981" b="30981"/>
          <a:stretch/>
        </p:blipFill>
        <p:spPr>
          <a:xfrm>
            <a:off x="13" y="7"/>
            <a:ext cx="5859784" cy="3346699"/>
          </a:xfrm>
          <a:custGeom>
            <a:avLst/>
            <a:gdLst/>
            <a:ahLst/>
            <a:cxnLst/>
            <a:rect l="l" t="t" r="r" b="b"/>
            <a:pathLst>
              <a:path w="5859797" h="3346705">
                <a:moveTo>
                  <a:pt x="0" y="0"/>
                </a:moveTo>
                <a:lnTo>
                  <a:pt x="5859797" y="0"/>
                </a:lnTo>
                <a:lnTo>
                  <a:pt x="4309834" y="3346705"/>
                </a:lnTo>
                <a:lnTo>
                  <a:pt x="4304257" y="3346705"/>
                </a:lnTo>
                <a:lnTo>
                  <a:pt x="3238029" y="3346705"/>
                </a:lnTo>
                <a:lnTo>
                  <a:pt x="0" y="3346705"/>
                </a:lnTo>
                <a:close/>
              </a:path>
            </a:pathLst>
          </a:cu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7950B1B-27C3-4369-FB9B-BDD6601E4BC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06" r="906"/>
          <a:stretch/>
        </p:blipFill>
        <p:spPr>
          <a:xfrm>
            <a:off x="6350089" y="3511296"/>
            <a:ext cx="5841912" cy="3346705"/>
          </a:xfrm>
          <a:custGeom>
            <a:avLst/>
            <a:gdLst/>
            <a:ahLst/>
            <a:cxnLst/>
            <a:rect l="l" t="t" r="r" b="b"/>
            <a:pathLst>
              <a:path w="5841911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5841911" y="0"/>
                </a:lnTo>
                <a:lnTo>
                  <a:pt x="5841911" y="3346705"/>
                </a:lnTo>
                <a:lnTo>
                  <a:pt x="0" y="3346705"/>
                </a:lnTo>
                <a:close/>
              </a:path>
            </a:pathLst>
          </a:cu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36D4638-6BAC-6594-ED96-0BFF664758F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1358" b="11358"/>
          <a:stretch/>
        </p:blipFill>
        <p:spPr>
          <a:xfrm>
            <a:off x="14" y="3511296"/>
            <a:ext cx="7698551" cy="3346705"/>
          </a:xfrm>
          <a:custGeom>
            <a:avLst/>
            <a:gdLst/>
            <a:ahLst/>
            <a:cxnLst/>
            <a:rect l="l" t="t" r="r" b="b"/>
            <a:pathLst>
              <a:path w="7698564" h="3346705">
                <a:moveTo>
                  <a:pt x="0" y="0"/>
                </a:moveTo>
                <a:lnTo>
                  <a:pt x="7698564" y="0"/>
                </a:lnTo>
                <a:lnTo>
                  <a:pt x="6148601" y="3346705"/>
                </a:lnTo>
                <a:lnTo>
                  <a:pt x="6143024" y="3346705"/>
                </a:lnTo>
                <a:lnTo>
                  <a:pt x="5076796" y="3346705"/>
                </a:lnTo>
                <a:lnTo>
                  <a:pt x="1246924" y="3346705"/>
                </a:lnTo>
                <a:lnTo>
                  <a:pt x="1246924" y="3346226"/>
                </a:lnTo>
                <a:lnTo>
                  <a:pt x="0" y="334622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776741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A4ECBCEA-0C44-E9EB-E22B-C4251030CA00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4817227" name="Titre 1">
            <a:extLst>
              <a:ext uri="{FF2B5EF4-FFF2-40B4-BE49-F238E27FC236}">
                <a16:creationId xmlns:a16="http://schemas.microsoft.com/office/drawing/2014/main" id="{C7CFBA03-CACB-5C4E-8B20-8A13A9FFD5D8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Широкая территориальная представленность</a:t>
            </a:r>
            <a:endParaRPr/>
          </a:p>
        </p:txBody>
      </p:sp>
      <p:sp>
        <p:nvSpPr>
          <p:cNvPr id="977222319" name="Espace réservé du contenu 2">
            <a:extLst>
              <a:ext uri="{FF2B5EF4-FFF2-40B4-BE49-F238E27FC236}">
                <a16:creationId xmlns:a16="http://schemas.microsoft.com/office/drawing/2014/main" id="{1A810A8D-322A-6BFA-5176-FE3108CDF400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838200" y="1690688"/>
            <a:ext cx="5016335" cy="3641534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  <a:defRPr/>
            </a:pPr>
            <a:r>
              <a:rPr lang="ru-RU" sz="2000"/>
              <a:t>Территория деятельности охватывает 3 провинции</a:t>
            </a:r>
            <a:r>
              <a:rPr lang="en" sz="2000"/>
              <a:t>: </a:t>
            </a:r>
            <a:r>
              <a:rPr lang="ru-RU" sz="2000" b="1">
                <a:latin typeface="Futura PT Demi"/>
              </a:rPr>
              <a:t>Люксембург, </a:t>
            </a:r>
            <a:r>
              <a:rPr lang="ru-RU" sz="2000" b="1" err="1">
                <a:latin typeface="Futura PT Demi"/>
              </a:rPr>
              <a:t>Намюр</a:t>
            </a:r>
            <a:r>
              <a:rPr lang="ru-RU" sz="2000" b="1">
                <a:latin typeface="Futura PT Demi"/>
              </a:rPr>
              <a:t> и Валлонский Брабант</a:t>
            </a:r>
            <a:endParaRPr/>
          </a:p>
          <a:p>
            <a:pPr marL="0" indent="0">
              <a:buNone/>
              <a:defRPr/>
            </a:pPr>
            <a:endParaRPr lang="fr-FR" sz="2000"/>
          </a:p>
          <a:p>
            <a:pPr marL="0" indent="0">
              <a:buNone/>
              <a:defRPr/>
            </a:pPr>
            <a:r>
              <a:rPr lang="ru-RU" sz="2000"/>
              <a:t>Поддержка со стороны </a:t>
            </a:r>
            <a:r>
              <a:rPr lang="ru-RU" sz="2000" b="1"/>
              <a:t>сети Центров компетенций</a:t>
            </a:r>
            <a:r>
              <a:rPr lang="ru-RU" sz="2000"/>
              <a:t>, координируемой </a:t>
            </a:r>
            <a:r>
              <a:rPr lang="ru-RU" sz="2000" err="1"/>
              <a:t>Le</a:t>
            </a:r>
            <a:r>
              <a:rPr lang="ru-RU" sz="2000"/>
              <a:t> </a:t>
            </a:r>
            <a:r>
              <a:rPr lang="ru-RU" sz="2000" err="1"/>
              <a:t>Forem</a:t>
            </a:r>
            <a:r>
              <a:rPr lang="ru-RU" sz="2000"/>
              <a:t>, для реализации выездных мероприятий по всей </a:t>
            </a:r>
            <a:r>
              <a:rPr lang="ru-RU" sz="2000" err="1"/>
              <a:t>Валлонии</a:t>
            </a:r>
            <a:r>
              <a:rPr lang="en" sz="2000"/>
              <a:t>.</a:t>
            </a:r>
          </a:p>
          <a:p>
            <a:pPr marL="0" indent="0">
              <a:buNone/>
              <a:defRPr/>
            </a:pPr>
            <a:endParaRPr lang="en" sz="2000"/>
          </a:p>
          <a:p>
            <a:pPr marL="0" indent="0">
              <a:buNone/>
              <a:defRPr/>
            </a:pPr>
            <a:r>
              <a:rPr lang="en" sz="2000"/>
              <a:t>FOREM : </a:t>
            </a:r>
            <a:r>
              <a:rPr lang="ru-RU" sz="2100"/>
              <a:t>Государственная служба занятости и профессионального обучения в </a:t>
            </a:r>
            <a:r>
              <a:rPr lang="ru-RU" sz="2100" err="1"/>
              <a:t>Валлонии</a:t>
            </a:r>
            <a:endParaRPr lang="fr-BE" sz="2000"/>
          </a:p>
          <a:p>
            <a:pPr marL="0" indent="0">
              <a:buNone/>
              <a:defRPr/>
            </a:pPr>
            <a:r>
              <a:rPr lang="fr-BE" sz="2000"/>
              <a:t>Proximus : </a:t>
            </a:r>
            <a:r>
              <a:rPr lang="ru-RU" sz="2000"/>
              <a:t>бельгийский телекоммуникационный оператор премиального уровня</a:t>
            </a:r>
            <a:r>
              <a:rPr lang="fr-BE" sz="2000"/>
              <a:t>.</a:t>
            </a:r>
          </a:p>
          <a:p>
            <a:pPr marL="0" indent="0">
              <a:buNone/>
              <a:defRPr/>
            </a:pPr>
            <a:endParaRPr/>
          </a:p>
        </p:txBody>
      </p:sp>
      <p:pic>
        <p:nvPicPr>
          <p:cNvPr id="1917753506" name="Image 4">
            <a:extLst>
              <a:ext uri="{FF2B5EF4-FFF2-40B4-BE49-F238E27FC236}">
                <a16:creationId xmlns:a16="http://schemas.microsoft.com/office/drawing/2014/main" id="{CD8238AF-ED9C-AD9E-11DB-2E729108BB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29460" y="5332222"/>
            <a:ext cx="1205779" cy="259996"/>
          </a:xfrm>
          <a:prstGeom prst="rect">
            <a:avLst/>
          </a:prstGeom>
        </p:spPr>
      </p:pic>
      <p:pic>
        <p:nvPicPr>
          <p:cNvPr id="731825351" name="Image 5">
            <a:extLst>
              <a:ext uri="{FF2B5EF4-FFF2-40B4-BE49-F238E27FC236}">
                <a16:creationId xmlns:a16="http://schemas.microsoft.com/office/drawing/2014/main" id="{27E7F967-D6DF-350D-76F9-562AC3596E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727440" y="5297369"/>
            <a:ext cx="907819" cy="259996"/>
          </a:xfrm>
          <a:prstGeom prst="rect">
            <a:avLst/>
          </a:prstGeom>
        </p:spPr>
      </p:pic>
      <p:pic>
        <p:nvPicPr>
          <p:cNvPr id="1422633179" name="Image 7">
            <a:extLst>
              <a:ext uri="{FF2B5EF4-FFF2-40B4-BE49-F238E27FC236}">
                <a16:creationId xmlns:a16="http://schemas.microsoft.com/office/drawing/2014/main" id="{5B51248C-75E8-A988-0766-9AAF1BE56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220335" y="5265416"/>
            <a:ext cx="1141082" cy="326802"/>
          </a:xfrm>
          <a:prstGeom prst="rect">
            <a:avLst/>
          </a:prstGeom>
        </p:spPr>
      </p:pic>
      <p:pic>
        <p:nvPicPr>
          <p:cNvPr id="1205968547" name="Image 545241428">
            <a:extLst>
              <a:ext uri="{FF2B5EF4-FFF2-40B4-BE49-F238E27FC236}">
                <a16:creationId xmlns:a16="http://schemas.microsoft.com/office/drawing/2014/main" id="{57A9BD5C-7768-C821-62B9-A4C6F3FE3F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929420" y="5855424"/>
            <a:ext cx="2410261" cy="713836"/>
          </a:xfrm>
          <a:prstGeom prst="rect">
            <a:avLst/>
          </a:prstGeom>
        </p:spPr>
      </p:pic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DD547A5-2135-4F29-8FCF-60A6FD1985F9}"/>
              </a:ext>
            </a:extLst>
          </p:cNvPr>
          <p:cNvGrpSpPr/>
          <p:nvPr/>
        </p:nvGrpSpPr>
        <p:grpSpPr>
          <a:xfrm>
            <a:off x="5543573" y="1027906"/>
            <a:ext cx="6395303" cy="5609358"/>
            <a:chOff x="5543573" y="1027906"/>
            <a:chExt cx="6395303" cy="5609358"/>
          </a:xfrm>
        </p:grpSpPr>
        <p:grpSp>
          <p:nvGrpSpPr>
            <p:cNvPr id="27" name="Groupe 5">
              <a:extLst>
                <a:ext uri="{FF2B5EF4-FFF2-40B4-BE49-F238E27FC236}">
                  <a16:creationId xmlns:a16="http://schemas.microsoft.com/office/drawing/2014/main" id="{EC63EF3E-254C-4D22-B1F2-90B1BDD720BC}"/>
                </a:ext>
              </a:extLst>
            </p:cNvPr>
            <p:cNvGrpSpPr/>
            <p:nvPr/>
          </p:nvGrpSpPr>
          <p:grpSpPr>
            <a:xfrm>
              <a:off x="5543573" y="1027906"/>
              <a:ext cx="6395303" cy="5609358"/>
              <a:chOff x="5543573" y="1027906"/>
              <a:chExt cx="6395303" cy="5609358"/>
            </a:xfrm>
          </p:grpSpPr>
          <p:grpSp>
            <p:nvGrpSpPr>
              <p:cNvPr id="35" name="Groupe 6">
                <a:extLst>
                  <a:ext uri="{FF2B5EF4-FFF2-40B4-BE49-F238E27FC236}">
                    <a16:creationId xmlns:a16="http://schemas.microsoft.com/office/drawing/2014/main" id="{2706D399-462E-472F-8FA5-A26D08ABDE62}"/>
                  </a:ext>
                </a:extLst>
              </p:cNvPr>
              <p:cNvGrpSpPr/>
              <p:nvPr/>
            </p:nvGrpSpPr>
            <p:grpSpPr bwMode="auto">
              <a:xfrm>
                <a:off x="5543573" y="1027906"/>
                <a:ext cx="6395303" cy="5304579"/>
                <a:chOff x="5377597" y="1027906"/>
                <a:chExt cx="6395303" cy="5304579"/>
              </a:xfrm>
            </p:grpSpPr>
            <p:pic>
              <p:nvPicPr>
                <p:cNvPr id="38" name="Espace réservé du contenu 4" descr="An image containing a map&#10;&#10;Auto-generated description">
                  <a:extLst>
                    <a:ext uri="{FF2B5EF4-FFF2-40B4-BE49-F238E27FC236}">
                      <a16:creationId xmlns:a16="http://schemas.microsoft.com/office/drawing/2014/main" id="{A1F98550-B081-46B0-AE98-FAA5CBA6A8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/>
              </p:blipFill>
              <p:spPr bwMode="auto">
                <a:xfrm>
                  <a:off x="5377597" y="1027906"/>
                  <a:ext cx="6395303" cy="5304579"/>
                </a:xfrm>
                <a:prstGeom prst="rect">
                  <a:avLst/>
                </a:prstGeom>
              </p:spPr>
            </p:pic>
            <p:pic>
              <p:nvPicPr>
                <p:cNvPr id="39" name="Picture 2" descr="Competence Center | Forem Water Polygon">
                  <a:extLst>
                    <a:ext uri="{FF2B5EF4-FFF2-40B4-BE49-F238E27FC236}">
                      <a16:creationId xmlns:a16="http://schemas.microsoft.com/office/drawing/2014/main" id="{BA7DEBF8-2FB5-43B6-8573-6EF6B726BCD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/>
                <a:stretch/>
              </p:blipFill>
              <p:spPr bwMode="auto">
                <a:xfrm>
                  <a:off x="10996379" y="2062445"/>
                  <a:ext cx="714842" cy="777667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36" name="Rectangle 1">
                <a:extLst>
                  <a:ext uri="{FF2B5EF4-FFF2-40B4-BE49-F238E27FC236}">
                    <a16:creationId xmlns:a16="http://schemas.microsoft.com/office/drawing/2014/main" id="{0BA93A1B-7701-4064-9E01-738F72CD7B31}"/>
                  </a:ext>
                </a:extLst>
              </p:cNvPr>
              <p:cNvSpPr/>
              <p:nvPr/>
            </p:nvSpPr>
            <p:spPr>
              <a:xfrm>
                <a:off x="6016283" y="4469397"/>
                <a:ext cx="1022252" cy="60955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/>
                  <a:cs typeface="Arial"/>
                </a:endParaRPr>
              </a:p>
            </p:txBody>
          </p:sp>
          <p:sp>
            <p:nvSpPr>
              <p:cNvPr id="37" name="Rectangle 4">
                <a:extLst>
                  <a:ext uri="{FF2B5EF4-FFF2-40B4-BE49-F238E27FC236}">
                    <a16:creationId xmlns:a16="http://schemas.microsoft.com/office/drawing/2014/main" id="{A2DF70EC-AE12-4694-AB04-F48A32033F51}"/>
                  </a:ext>
                </a:extLst>
              </p:cNvPr>
              <p:cNvSpPr/>
              <p:nvPr/>
            </p:nvSpPr>
            <p:spPr bwMode="auto">
              <a:xfrm>
                <a:off x="8533928" y="6027706"/>
                <a:ext cx="1022252" cy="60955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/>
                  <a:cs typeface="Arial"/>
                </a:endParaRPr>
              </a:p>
            </p:txBody>
          </p:sp>
        </p:grp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5D7E7D9B-D0F9-4FD7-AF09-37598E2CB9C9}"/>
                </a:ext>
              </a:extLst>
            </p:cNvPr>
            <p:cNvSpPr/>
            <p:nvPr/>
          </p:nvSpPr>
          <p:spPr>
            <a:xfrm>
              <a:off x="5938520" y="3736340"/>
              <a:ext cx="858520" cy="1625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err="1">
                  <a:ln>
                    <a:noFill/>
                  </a:ln>
                  <a:solidFill>
                    <a:srgbClr val="335C71"/>
                  </a:solidFill>
                  <a:effectLst/>
                  <a:uLnTx/>
                  <a:uFillTx/>
                  <a:latin typeface="Aptos"/>
                  <a:cs typeface="Arial"/>
                </a:rPr>
                <a:t>Лувен</a:t>
              </a: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srgbClr val="335C71"/>
                  </a:solidFill>
                  <a:effectLst/>
                  <a:uLnTx/>
                  <a:uFillTx/>
                  <a:latin typeface="Aptos"/>
                  <a:cs typeface="Arial"/>
                </a:rPr>
                <a:t>-ла-</a:t>
              </a:r>
              <a:r>
                <a:rPr kumimoji="0" lang="ru-RU" sz="900" b="1" i="0" u="none" strike="noStrike" kern="0" cap="none" spc="0" normalizeH="0" baseline="0" noProof="0" err="1">
                  <a:ln>
                    <a:noFill/>
                  </a:ln>
                  <a:solidFill>
                    <a:srgbClr val="335C71"/>
                  </a:solidFill>
                  <a:effectLst/>
                  <a:uLnTx/>
                  <a:uFillTx/>
                  <a:latin typeface="Aptos"/>
                  <a:cs typeface="Arial"/>
                </a:rPr>
                <a:t>Нёв</a:t>
              </a:r>
              <a:endParaRPr kumimoji="0" lang="ru-RU" sz="900" b="1" i="0" u="none" strike="noStrike" kern="0" cap="none" spc="0" normalizeH="0" baseline="0" noProof="0">
                <a:ln>
                  <a:noFill/>
                </a:ln>
                <a:solidFill>
                  <a:srgbClr val="335C71"/>
                </a:solidFill>
                <a:effectLst/>
                <a:uLnTx/>
                <a:uFillTx/>
                <a:latin typeface="Aptos"/>
                <a:cs typeface="Arial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969EC965-EB12-4BCB-A6AB-B1E69885A077}"/>
                </a:ext>
              </a:extLst>
            </p:cNvPr>
            <p:cNvSpPr/>
            <p:nvPr/>
          </p:nvSpPr>
          <p:spPr>
            <a:xfrm>
              <a:off x="6449060" y="4257040"/>
              <a:ext cx="614680" cy="1625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err="1">
                  <a:ln>
                    <a:noFill/>
                  </a:ln>
                  <a:solidFill>
                    <a:srgbClr val="335C71"/>
                  </a:solidFill>
                  <a:effectLst/>
                  <a:uLnTx/>
                  <a:uFillTx/>
                  <a:latin typeface="Aptos"/>
                  <a:cs typeface="Arial"/>
                </a:rPr>
                <a:t>Намюр</a:t>
              </a:r>
              <a:endParaRPr kumimoji="0" lang="ru-RU" sz="900" b="1" i="0" u="none" strike="noStrike" kern="0" cap="none" spc="0" normalizeH="0" baseline="0" noProof="0">
                <a:ln>
                  <a:noFill/>
                </a:ln>
                <a:solidFill>
                  <a:srgbClr val="335C71"/>
                </a:solidFill>
                <a:effectLst/>
                <a:uLnTx/>
                <a:uFillTx/>
                <a:latin typeface="Aptos"/>
                <a:cs typeface="Arial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A4B473F0-D2F9-4D9B-96AE-783C42219924}"/>
                </a:ext>
              </a:extLst>
            </p:cNvPr>
            <p:cNvSpPr/>
            <p:nvPr/>
          </p:nvSpPr>
          <p:spPr>
            <a:xfrm>
              <a:off x="7547610" y="5344171"/>
              <a:ext cx="675640" cy="2171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>
                  <a:ln>
                    <a:noFill/>
                  </a:ln>
                  <a:solidFill>
                    <a:srgbClr val="335C71"/>
                  </a:solidFill>
                  <a:effectLst/>
                  <a:uLnTx/>
                  <a:uFillTx/>
                  <a:latin typeface="Aptos"/>
                  <a:cs typeface="Arial"/>
                </a:rPr>
                <a:t>Синей</a:t>
              </a:r>
            </a:p>
          </p:txBody>
        </p: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E2377ACD-1405-44BD-B13D-10AEB1583B2B}"/>
                </a:ext>
              </a:extLst>
            </p:cNvPr>
            <p:cNvCxnSpPr/>
            <p:nvPr/>
          </p:nvCxnSpPr>
          <p:spPr bwMode="auto">
            <a:xfrm>
              <a:off x="7244080" y="5585460"/>
              <a:ext cx="711200" cy="0"/>
            </a:xfrm>
            <a:prstGeom prst="line">
              <a:avLst/>
            </a:prstGeom>
            <a:ln w="6350">
              <a:solidFill>
                <a:srgbClr val="093E57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2A97E7D6-D331-4231-B024-AF896A58D32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955280" y="5166360"/>
              <a:ext cx="551180" cy="419100"/>
            </a:xfrm>
            <a:prstGeom prst="line">
              <a:avLst/>
            </a:prstGeom>
            <a:ln w="9525">
              <a:solidFill>
                <a:srgbClr val="093E57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86A90EE1-43F2-4413-AA0E-51FE02AB9C30}"/>
                </a:ext>
              </a:extLst>
            </p:cNvPr>
            <p:cNvSpPr/>
            <p:nvPr/>
          </p:nvSpPr>
          <p:spPr>
            <a:xfrm>
              <a:off x="8935404" y="5731288"/>
              <a:ext cx="549972" cy="1976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err="1">
                  <a:ln>
                    <a:noFill/>
                  </a:ln>
                  <a:solidFill>
                    <a:srgbClr val="335C71"/>
                  </a:solidFill>
                  <a:effectLst/>
                  <a:uLnTx/>
                  <a:uFillTx/>
                  <a:latin typeface="Aptos"/>
                  <a:cs typeface="Arial"/>
                </a:rPr>
                <a:t>Арлон</a:t>
              </a:r>
              <a:endParaRPr kumimoji="0" lang="ru-RU" sz="900" b="1" i="0" u="none" strike="noStrike" kern="0" cap="none" spc="0" normalizeH="0" baseline="0" noProof="0">
                <a:ln>
                  <a:noFill/>
                </a:ln>
                <a:solidFill>
                  <a:srgbClr val="335C71"/>
                </a:solidFill>
                <a:effectLst/>
                <a:uLnTx/>
                <a:uFillTx/>
                <a:latin typeface="Aptos"/>
                <a:cs typeface="Arial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76AD9545-DBE5-4F6A-ADE0-11EF44A43381}"/>
                </a:ext>
              </a:extLst>
            </p:cNvPr>
            <p:cNvSpPr/>
            <p:nvPr/>
          </p:nvSpPr>
          <p:spPr>
            <a:xfrm>
              <a:off x="8995410" y="5901690"/>
              <a:ext cx="344805" cy="838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48925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1B91E4D-FE90-7593-97DB-CE540A60E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Ценности</a:t>
            </a:r>
            <a:endParaRPr lang="fr-FR"/>
          </a:p>
        </p:txBody>
      </p:sp>
      <p:pic>
        <p:nvPicPr>
          <p:cNvPr id="9" name="Graphique 8" descr="Durabilité avec un remplissage uni">
            <a:extLst>
              <a:ext uri="{FF2B5EF4-FFF2-40B4-BE49-F238E27FC236}">
                <a16:creationId xmlns:a16="http://schemas.microsoft.com/office/drawing/2014/main" id="{F0CA3CD2-7AF5-970D-8A83-41BA7B2B48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38064" y="4172509"/>
            <a:ext cx="914400" cy="914400"/>
          </a:xfrm>
          <a:prstGeom prst="rect">
            <a:avLst/>
          </a:prstGeom>
        </p:spPr>
      </p:pic>
      <p:pic>
        <p:nvPicPr>
          <p:cNvPr id="11" name="Graphique 10" descr="Pièces de puzzle avec un remplissage uni">
            <a:extLst>
              <a:ext uri="{FF2B5EF4-FFF2-40B4-BE49-F238E27FC236}">
                <a16:creationId xmlns:a16="http://schemas.microsoft.com/office/drawing/2014/main" id="{89CF5EB3-572F-86F8-58BB-BE0AB78E8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08824" y="4172509"/>
            <a:ext cx="914400" cy="914400"/>
          </a:xfrm>
          <a:prstGeom prst="rect">
            <a:avLst/>
          </a:prstGeom>
        </p:spPr>
      </p:pic>
      <p:pic>
        <p:nvPicPr>
          <p:cNvPr id="13" name="Graphique 12" descr="Robot avec un remplissage uni">
            <a:extLst>
              <a:ext uri="{FF2B5EF4-FFF2-40B4-BE49-F238E27FC236}">
                <a16:creationId xmlns:a16="http://schemas.microsoft.com/office/drawing/2014/main" id="{E58CC48A-2F39-7FC1-427E-114D70F251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9584" y="4172509"/>
            <a:ext cx="914400" cy="9144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937CD275-067F-FB5D-7EF7-CDD66001E335}"/>
              </a:ext>
            </a:extLst>
          </p:cNvPr>
          <p:cNvSpPr txBox="1"/>
          <p:nvPr/>
        </p:nvSpPr>
        <p:spPr>
          <a:xfrm>
            <a:off x="4730179" y="2713123"/>
            <a:ext cx="3271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D3B56"/>
                </a:solidFill>
                <a:effectLst/>
                <a:uLnTx/>
                <a:uFillTx/>
                <a:latin typeface="Futura" panose="020B0602020204020303" pitchFamily="34" charset="-79"/>
                <a:cs typeface="Futura" panose="020B0602020204020303" pitchFamily="34" charset="-79"/>
              </a:rPr>
              <a:t>Образовательные инновации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rgbClr val="0D3B56"/>
              </a:solidFill>
              <a:effectLst/>
              <a:uLnTx/>
              <a:uFillTx/>
              <a:latin typeface="Futura" panose="020B0602020204020303" pitchFamily="34" charset="-79"/>
              <a:cs typeface="Futura" panose="020B0602020204020303" pitchFamily="34" charset="-79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A0AFC32-42AF-61AE-08E7-55D9B8863A7D}"/>
              </a:ext>
            </a:extLst>
          </p:cNvPr>
          <p:cNvSpPr txBox="1"/>
          <p:nvPr/>
        </p:nvSpPr>
        <p:spPr>
          <a:xfrm>
            <a:off x="8059419" y="2714848"/>
            <a:ext cx="3271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D3B56"/>
                </a:solidFill>
                <a:effectLst/>
                <a:uLnTx/>
                <a:uFillTx/>
                <a:latin typeface="Futura" panose="020B0602020204020303" pitchFamily="34" charset="-79"/>
                <a:cs typeface="Futura" panose="020B0602020204020303" pitchFamily="34" charset="-79"/>
              </a:rPr>
              <a:t>Устойчивое развитие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rgbClr val="0D3B56"/>
              </a:solidFill>
              <a:effectLst/>
              <a:uLnTx/>
              <a:uFillTx/>
              <a:latin typeface="Futura" panose="020B0602020204020303" pitchFamily="34" charset="-79"/>
              <a:cs typeface="Futura" panose="020B0602020204020303" pitchFamily="34" charset="-79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1602E58-5971-D018-4BFB-A7380D05740D}"/>
              </a:ext>
            </a:extLst>
          </p:cNvPr>
          <p:cNvSpPr txBox="1"/>
          <p:nvPr/>
        </p:nvSpPr>
        <p:spPr>
          <a:xfrm>
            <a:off x="1400939" y="2713123"/>
            <a:ext cx="3271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D3B56"/>
                </a:solidFill>
                <a:effectLst/>
                <a:uLnTx/>
                <a:uFillTx/>
                <a:latin typeface="Futura" panose="020B0602020204020303" pitchFamily="34" charset="-79"/>
                <a:cs typeface="Futura" panose="020B0602020204020303" pitchFamily="34" charset="-79"/>
              </a:rPr>
              <a:t>Технологическая экспертиза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rgbClr val="0D3B56"/>
              </a:solidFill>
              <a:effectLst/>
              <a:uLnTx/>
              <a:uFillTx/>
              <a:latin typeface="Futura" panose="020B0602020204020303" pitchFamily="34" charset="-79"/>
              <a:cs typeface="Futura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568099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FF3E5B-C8A6-E8CC-8900-2CDF53B67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798E7A-464A-82C6-EF5E-FC0EC410F5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143672" cy="4342682"/>
          </a:xfr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8B2895-A45D-5FB3-47E2-E193591FE6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310695-B263-9327-3A2B-A8757955FC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063552" cy="6285957"/>
          </a:xfrm>
        </p:spPr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6E159C2-508B-DDF3-D697-7FBE06CAB300}"/>
              </a:ext>
            </a:extLst>
          </p:cNvPr>
          <p:cNvCxnSpPr>
            <a:cxnSpLocks/>
          </p:cNvCxnSpPr>
          <p:nvPr/>
        </p:nvCxnSpPr>
        <p:spPr>
          <a:xfrm>
            <a:off x="2064600" y="1124744"/>
            <a:ext cx="9432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DC4C7594-A529-A118-3334-5259E10957C4}"/>
              </a:ext>
            </a:extLst>
          </p:cNvPr>
          <p:cNvSpPr txBox="1">
            <a:spLocks/>
          </p:cNvSpPr>
          <p:nvPr/>
        </p:nvSpPr>
        <p:spPr>
          <a:xfrm>
            <a:off x="2064600" y="441870"/>
            <a:ext cx="943200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Определение «профессионального мастерства» в сфере ПОО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2D3105-4E79-704A-50CE-49DD1F3FB173}"/>
              </a:ext>
            </a:extLst>
          </p:cNvPr>
          <p:cNvGrpSpPr/>
          <p:nvPr/>
        </p:nvGrpSpPr>
        <p:grpSpPr>
          <a:xfrm>
            <a:off x="2206394" y="1671009"/>
            <a:ext cx="9687009" cy="4742417"/>
            <a:chOff x="1720095" y="1989278"/>
            <a:chExt cx="8721136" cy="433000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8D5D83C-1DD8-559A-C72F-6BC239A1BBDE}"/>
                </a:ext>
              </a:extLst>
            </p:cNvPr>
            <p:cNvGrpSpPr/>
            <p:nvPr/>
          </p:nvGrpSpPr>
          <p:grpSpPr>
            <a:xfrm>
              <a:off x="1720095" y="1989278"/>
              <a:ext cx="8721136" cy="4330003"/>
              <a:chOff x="1395879" y="1992110"/>
              <a:chExt cx="8721136" cy="4330003"/>
            </a:xfrm>
          </p:grpSpPr>
          <p:sp>
            <p:nvSpPr>
              <p:cNvPr id="14" name="Flowchart: Preparation 13">
                <a:extLst>
                  <a:ext uri="{FF2B5EF4-FFF2-40B4-BE49-F238E27FC236}">
                    <a16:creationId xmlns:a16="http://schemas.microsoft.com/office/drawing/2014/main" id="{DE5374C3-AA58-20A0-1184-0D46BD68CDD2}"/>
                  </a:ext>
                </a:extLst>
              </p:cNvPr>
              <p:cNvSpPr/>
              <p:nvPr/>
            </p:nvSpPr>
            <p:spPr>
              <a:xfrm>
                <a:off x="1395879" y="2002113"/>
                <a:ext cx="3240000" cy="2880000"/>
              </a:xfrm>
              <a:prstGeom prst="flowChartPreparation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" name="Flowchart: Preparation 14">
                <a:extLst>
                  <a:ext uri="{FF2B5EF4-FFF2-40B4-BE49-F238E27FC236}">
                    <a16:creationId xmlns:a16="http://schemas.microsoft.com/office/drawing/2014/main" id="{EC04BA82-41E3-6EB3-009E-1A5DCB81B640}"/>
                  </a:ext>
                </a:extLst>
              </p:cNvPr>
              <p:cNvSpPr/>
              <p:nvPr/>
            </p:nvSpPr>
            <p:spPr>
              <a:xfrm>
                <a:off x="4151784" y="3442113"/>
                <a:ext cx="3240000" cy="2880000"/>
              </a:xfrm>
              <a:prstGeom prst="flowChartPreparation">
                <a:avLst/>
              </a:prstGeom>
              <a:solidFill>
                <a:srgbClr val="FFC00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" name="Flowchart: Preparation 15">
                <a:extLst>
                  <a:ext uri="{FF2B5EF4-FFF2-40B4-BE49-F238E27FC236}">
                    <a16:creationId xmlns:a16="http://schemas.microsoft.com/office/drawing/2014/main" id="{19AD0795-681E-65F6-6CBF-692696B1FDA2}"/>
                  </a:ext>
                </a:extLst>
              </p:cNvPr>
              <p:cNvSpPr/>
              <p:nvPr/>
            </p:nvSpPr>
            <p:spPr>
              <a:xfrm>
                <a:off x="6877015" y="1992110"/>
                <a:ext cx="3240000" cy="2880000"/>
              </a:xfrm>
              <a:prstGeom prst="flowChartPreparation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8149632-F612-D768-4CE3-10A5C0D03306}"/>
                </a:ext>
              </a:extLst>
            </p:cNvPr>
            <p:cNvSpPr txBox="1"/>
            <p:nvPr>
              <p:extLst>
                <p:ext uri="{E7BDC344-281C-4309-B0C6-D0EE65EED2A8}">
                  <p202:designPr xmlns:p202="http://schemas.microsoft.com/office/powerpoint/2020/02/main">
                    <p202:designTagLst>
                      <p202:designTag name="ARCH:1:CLS" val="InformationBlock"/>
                      <p202:designTag name="ARCH:1:VSVAR" val="TitledTextBox"/>
                    </p202:designTagLst>
                  </p202:designPr>
                </p:ext>
              </p:extLst>
            </p:nvPr>
          </p:nvSpPr>
          <p:spPr>
            <a:xfrm>
              <a:off x="2151963" y="2068041"/>
              <a:ext cx="2376263" cy="2530400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indent="0" algn="ctr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ru-RU" sz="2400" b="1">
                  <a:solidFill>
                    <a:schemeClr val="bg1"/>
                  </a:solidFill>
                </a:rPr>
                <a:t>Охват</a:t>
              </a:r>
              <a:endParaRPr lang="en-GB" sz="2400" b="1">
                <a:solidFill>
                  <a:schemeClr val="bg1"/>
                </a:solidFill>
              </a:endParaRPr>
            </a:p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2400" i="1">
                  <a:solidFill>
                    <a:schemeClr val="bg1"/>
                  </a:solidFill>
                </a:rPr>
                <a:t>Диапазон и масштаб целей, видов деятельности, функций и партнёров</a:t>
              </a:r>
              <a:endParaRPr lang="en-GB" sz="2400" b="1">
                <a:solidFill>
                  <a:schemeClr val="bg1"/>
                </a:solidFill>
              </a:endParaRPr>
            </a:p>
            <a:p>
              <a:pPr marL="0" lvl="1" indent="0" algn="ctr"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1E79AF2-B7DC-3094-DE71-68B015E343AE}"/>
                </a:ext>
              </a:extLst>
            </p:cNvPr>
            <p:cNvSpPr txBox="1"/>
            <p:nvPr>
              <p:extLst>
                <p:ext uri="{E7BDC344-281C-4309-B0C6-D0EE65EED2A8}">
                  <p202:designPr xmlns:p202="http://schemas.microsoft.com/office/powerpoint/2020/02/main">
                    <p202:designTagLst>
                      <p202:designTag name="ARCH:1:CLS" val="InformationBlock"/>
                      <p202:designTag name="ARCH:1:VSVAR" val="TitledTextBox"/>
                    </p202:designTagLst>
                  </p202:designPr>
                </p:ext>
              </p:extLst>
            </p:nvPr>
          </p:nvSpPr>
          <p:spPr>
            <a:xfrm>
              <a:off x="4684159" y="3776867"/>
              <a:ext cx="2775969" cy="2406280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indent="0" algn="ctr">
                <a:spcBef>
                  <a:spcPts val="25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ru-RU" sz="2400" b="1"/>
                <a:t>Потенциал</a:t>
              </a:r>
              <a:endParaRPr lang="en-GB" sz="2400" b="1"/>
            </a:p>
            <a:p>
              <a:pPr marL="0" indent="0" algn="ctr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ru-RU" sz="2400" i="1">
                  <a:solidFill>
                    <a:schemeClr val="bg2">
                      <a:lumMod val="50000"/>
                    </a:schemeClr>
                  </a:solidFill>
                </a:rPr>
                <a:t>Системы, взаимоотношения, культура, знания, видение</a:t>
              </a:r>
              <a:endParaRPr lang="en-GB" sz="2400" b="1"/>
            </a:p>
            <a:p>
              <a:pPr marL="0" lvl="1" indent="0" algn="ctr"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en-GB" sz="24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068ECEA-E84B-BCAF-CB68-5A2EF6E3959F}"/>
                </a:ext>
              </a:extLst>
            </p:cNvPr>
            <p:cNvSpPr txBox="1"/>
            <p:nvPr>
              <p:extLst>
                <p:ext uri="{E7BDC344-281C-4309-B0C6-D0EE65EED2A8}">
                  <p202:designPr xmlns:p202="http://schemas.microsoft.com/office/powerpoint/2020/02/main">
                    <p202:designTagLst>
                      <p202:designTag name="ARCH:1:CLS" val="InformationBlock"/>
                      <p202:designTag name="ARCH:1:VSVAR" val="TitledTextBox"/>
                    </p202:designTagLst>
                  </p202:designPr>
                </p:ext>
              </p:extLst>
            </p:nvPr>
          </p:nvSpPr>
          <p:spPr>
            <a:xfrm>
              <a:off x="7460129" y="2329830"/>
              <a:ext cx="2775969" cy="2406280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indent="0" algn="ctr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ru-RU" sz="2400" b="1">
                  <a:solidFill>
                    <a:schemeClr val="bg1"/>
                  </a:solidFill>
                </a:rPr>
                <a:t>Эффективность</a:t>
              </a:r>
              <a:endParaRPr lang="en-GB" sz="2400" b="1">
                <a:solidFill>
                  <a:schemeClr val="bg1"/>
                </a:solidFill>
              </a:endParaRPr>
            </a:p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2400" i="1">
                  <a:solidFill>
                    <a:schemeClr val="bg1"/>
                  </a:solidFill>
                </a:rPr>
                <a:t>Качество ресурсов, процессов и результатов для заинтересованных сторон</a:t>
              </a:r>
              <a:endParaRPr lang="en-GB" sz="2000" i="1">
                <a:solidFill>
                  <a:schemeClr val="bg1"/>
                </a:solidFill>
              </a:endParaRPr>
            </a:p>
            <a:p>
              <a:pPr marL="0" indent="0" algn="ctr">
                <a:spcBef>
                  <a:spcPts val="25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en-GB" sz="2400" b="1">
                <a:solidFill>
                  <a:schemeClr val="bg1"/>
                </a:solidFill>
              </a:endParaRPr>
            </a:p>
            <a:p>
              <a:pPr marL="0" lvl="1" indent="0" algn="ctr"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en-GB" sz="24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90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50819461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Задачи Центра компетенций</a:t>
            </a:r>
            <a:endParaRPr/>
          </a:p>
        </p:txBody>
      </p:sp>
      <p:sp>
        <p:nvSpPr>
          <p:cNvPr id="10098866" name="Espace réservé du contenu 2"/>
          <p:cNvSpPr>
            <a:spLocks noGrp="1"/>
          </p:cNvSpPr>
          <p:nvPr>
            <p:ph idx="1"/>
          </p:nvPr>
        </p:nvSpPr>
        <p:spPr bwMode="auto">
          <a:xfrm>
            <a:off x="838198" y="1581063"/>
            <a:ext cx="10335026" cy="4351338"/>
          </a:xfrm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normAutofit fontScale="85000" lnSpcReduction="10000"/>
          </a:bodyPr>
          <a:lstStyle/>
          <a:p>
            <a:pPr marL="0" indent="0" algn="ctr">
              <a:lnSpc>
                <a:spcPct val="150000"/>
              </a:lnSpc>
              <a:spcBef>
                <a:spcPts val="999"/>
              </a:spcBef>
              <a:buNone/>
              <a:defRPr/>
            </a:pPr>
            <a:r>
              <a:rPr lang="ru-RU" sz="2600" b="1">
                <a:latin typeface="Amboy Black"/>
                <a:ea typeface="Amboy Black"/>
                <a:cs typeface="Amboy Black"/>
              </a:rPr>
              <a:t>Подготовка работников настоящего и будущего</a:t>
            </a:r>
            <a:endParaRPr/>
          </a:p>
          <a:p>
            <a:pPr marL="0" marR="0" indent="0" algn="ctr">
              <a:lnSpc>
                <a:spcPct val="150000"/>
              </a:lnSpc>
              <a:spcBef>
                <a:spcPts val="999"/>
              </a:spcBef>
              <a:spcAft>
                <a:spcPts val="0"/>
              </a:spcAft>
              <a:buFont typeface="Arial"/>
              <a:buNone/>
              <a:defRPr/>
            </a:pPr>
            <a:endParaRPr lang="fr-BE" sz="1800" u="none" strike="noStrike"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ru-RU" sz="1800"/>
              <a:t>Центры компетенций — это </a:t>
            </a:r>
            <a:r>
              <a:rPr lang="ru-RU" sz="1800" b="1"/>
              <a:t>площадки экспертизы, ориентированные на инновации </a:t>
            </a:r>
            <a:r>
              <a:rPr lang="ru-RU" sz="1800"/>
              <a:t>как в технологической, так и в образовательной сфере.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ru-RU" sz="1800"/>
              <a:t>Их современная инфраструктура и интеграция в экосистемы экономического развития позволяют предоставлять </a:t>
            </a:r>
            <a:r>
              <a:rPr lang="ru-RU" sz="1800" b="1"/>
              <a:t>обучение</a:t>
            </a:r>
            <a:r>
              <a:rPr lang="ru-RU" sz="1800"/>
              <a:t>, </a:t>
            </a:r>
            <a:r>
              <a:rPr lang="ru-RU" sz="1800" b="1"/>
              <a:t>информирование</a:t>
            </a:r>
            <a:r>
              <a:rPr lang="ru-RU" sz="1800"/>
              <a:t> </a:t>
            </a:r>
            <a:r>
              <a:rPr lang="ru-RU" sz="1800" b="1"/>
              <a:t>и повышение осведомленности</a:t>
            </a:r>
            <a:r>
              <a:rPr lang="ru-RU" sz="1800"/>
              <a:t> для следующих целевых групп: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ru-RU" sz="1800" b="1">
                <a:latin typeface="Futura PT Demi"/>
              </a:rPr>
              <a:t>Работники и руководители предприятий (обучение на платной основе)</a:t>
            </a:r>
            <a:endParaRPr lang="fr-BE" sz="1800" b="1">
              <a:latin typeface="Futura PT Demi"/>
            </a:endParaRPr>
          </a:p>
          <a:p>
            <a:pPr>
              <a:lnSpc>
                <a:spcPct val="150000"/>
              </a:lnSpc>
              <a:defRPr/>
            </a:pPr>
            <a:r>
              <a:rPr lang="ru-RU" sz="1800" b="1">
                <a:latin typeface="Futura PT Demi"/>
              </a:rPr>
              <a:t>Соискатели работы (бесплатно)</a:t>
            </a:r>
            <a:endParaRPr lang="fr-BE" sz="1800" b="1">
              <a:latin typeface="Futura PT Demi"/>
            </a:endParaRPr>
          </a:p>
          <a:p>
            <a:pPr>
              <a:lnSpc>
                <a:spcPct val="150000"/>
              </a:lnSpc>
              <a:defRPr/>
            </a:pPr>
            <a:r>
              <a:rPr lang="ru-RU" sz="1800" b="1">
                <a:latin typeface="Futura PT Demi"/>
              </a:rPr>
              <a:t>Обучающиеся (от 8 лет до взрослых) и преподаватели (бесплатно — финансируется регионом)</a:t>
            </a:r>
            <a:endParaRPr lang="fr-BE" sz="1800" b="1">
              <a:latin typeface="Futura PT Demi"/>
            </a:endParaRPr>
          </a:p>
          <a:p>
            <a:pPr algn="l">
              <a:lnSpc>
                <a:spcPct val="150000"/>
              </a:lnSpc>
              <a:defRPr/>
            </a:pPr>
            <a:endParaRPr lang="en" sz="1800" u="none" strike="noStrike"/>
          </a:p>
        </p:txBody>
      </p:sp>
    </p:spTree>
    <p:extLst>
      <p:ext uri="{BB962C8B-B14F-4D97-AF65-F5344CB8AC3E}">
        <p14:creationId xmlns:p14="http://schemas.microsoft.com/office/powerpoint/2010/main" val="5208941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FC5872-7FE9-6B69-394A-FEB5A96B0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/>
              <a:t>Добавленная ценность взаимодействия с различными целевыми группами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B2832B7-2656-E634-9709-3EC2C3F0BB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fr-BE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Работая одновременно с обучающимися, соискателями работы и компаниями, </a:t>
            </a:r>
            <a:r>
              <a:rPr lang="ru-RU" err="1">
                <a:latin typeface="Futura PT Medium" panose="020B0602020204020303" pitchFamily="34" charset="77"/>
              </a:rPr>
              <a:t>Technobel</a:t>
            </a:r>
            <a:r>
              <a:rPr lang="ru-RU">
                <a:latin typeface="Futura PT Medium" panose="020B0602020204020303" pitchFamily="34" charset="77"/>
              </a:rPr>
              <a:t> формирует целостную экосистему навыков</a:t>
            </a:r>
            <a:r>
              <a:rPr lang="fr-BE">
                <a:latin typeface="Futura PT Medium" panose="020B0602020204020303" pitchFamily="34" charset="77"/>
              </a:rPr>
              <a:t>. </a:t>
            </a:r>
          </a:p>
          <a:p>
            <a:pPr marL="0" indent="0">
              <a:buNone/>
            </a:pPr>
            <a:endParaRPr lang="fr-BE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Начиная с ранней профориентации в школах, продолжая профессиональным обучением и повышением квалификации ИТ-специалистов, данный подход обеспечивает актуальность, </a:t>
            </a:r>
            <a:r>
              <a:rPr lang="ru-RU" err="1">
                <a:latin typeface="Futura PT Medium" panose="020B0602020204020303" pitchFamily="34" charset="77"/>
              </a:rPr>
              <a:t>инклюзивность</a:t>
            </a:r>
            <a:r>
              <a:rPr lang="ru-RU">
                <a:latin typeface="Futura PT Medium" panose="020B0602020204020303" pitchFamily="34" charset="77"/>
              </a:rPr>
              <a:t> и долгосрочное воздействие</a:t>
            </a:r>
            <a:r>
              <a:rPr lang="fr-BE">
                <a:latin typeface="Futura PT Medium" panose="020B0602020204020303" pitchFamily="34" charset="77"/>
              </a:rPr>
              <a:t>.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716624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09349533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Признание</a:t>
            </a:r>
            <a:endParaRPr/>
          </a:p>
        </p:txBody>
      </p:sp>
      <p:sp>
        <p:nvSpPr>
          <p:cNvPr id="468591768" name="Espace réservé du contenu 2"/>
          <p:cNvSpPr>
            <a:spLocks noGrp="1"/>
          </p:cNvSpPr>
          <p:nvPr>
            <p:ph idx="1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en"/>
              <a:t>2001 – </a:t>
            </a:r>
            <a:r>
              <a:rPr lang="ru-RU" b="1"/>
              <a:t>Знак качества Центра компетенций </a:t>
            </a:r>
            <a:r>
              <a:rPr lang="en"/>
              <a:t>–</a:t>
            </a:r>
            <a:r>
              <a:rPr lang="ru-RU"/>
              <a:t> Правительство </a:t>
            </a:r>
            <a:r>
              <a:rPr lang="ru-RU" err="1"/>
              <a:t>Валлонии</a:t>
            </a:r>
            <a:endParaRPr/>
          </a:p>
          <a:p>
            <a:pPr>
              <a:defRPr/>
            </a:pPr>
            <a:r>
              <a:rPr lang="en"/>
              <a:t>2019 - </a:t>
            </a:r>
            <a:r>
              <a:rPr lang="ru-RU" b="1" u="sng"/>
              <a:t>Номинация</a:t>
            </a:r>
            <a:r>
              <a:rPr lang="ru-RU" b="1"/>
              <a:t> на премию «Профессиональное мастерство в системе профессионального образования и обучения»</a:t>
            </a:r>
            <a:r>
              <a:rPr lang="en"/>
              <a:t> </a:t>
            </a:r>
            <a:r>
              <a:rPr lang="ru-RU"/>
              <a:t>в рамках Европейской недели навыков</a:t>
            </a:r>
            <a:endParaRPr/>
          </a:p>
          <a:p>
            <a:pPr lvl="2">
              <a:defRPr/>
            </a:pPr>
            <a:r>
              <a:rPr lang="en"/>
              <a:t> </a:t>
            </a:r>
            <a:r>
              <a:rPr lang="ru-RU"/>
              <a:t>категории «Инновационный поставщик профессионального образования и обучения» за подход «</a:t>
            </a:r>
            <a:r>
              <a:rPr lang="ru-RU" b="1"/>
              <a:t>Будь создателем</a:t>
            </a:r>
            <a:r>
              <a:rPr lang="ru-RU"/>
              <a:t>».</a:t>
            </a:r>
            <a:r>
              <a:rPr lang="en"/>
              <a:t> </a:t>
            </a:r>
            <a:endParaRPr/>
          </a:p>
          <a:p>
            <a:pPr>
              <a:defRPr/>
            </a:pPr>
            <a:r>
              <a:rPr lang="en"/>
              <a:t>2025 - </a:t>
            </a:r>
            <a:r>
              <a:rPr lang="ru-RU"/>
              <a:t>Сертификация </a:t>
            </a:r>
            <a:r>
              <a:rPr lang="ru-RU" b="1"/>
              <a:t>«Приверженность профессиональному мастерству»</a:t>
            </a:r>
            <a:endParaRPr b="1"/>
          </a:p>
          <a:p>
            <a:pPr lvl="1">
              <a:defRPr/>
            </a:pPr>
            <a:endParaRPr/>
          </a:p>
        </p:txBody>
      </p:sp>
      <p:sp>
        <p:nvSpPr>
          <p:cNvPr id="1825014702" name=" 437157406"/>
          <p:cNvSpPr/>
          <p:nvPr/>
        </p:nvSpPr>
        <p:spPr bwMode="auto">
          <a:xfrm>
            <a:off x="14551952" y="4285940"/>
            <a:ext cx="174273" cy="64044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/>
              </a:rPr>
            </a:b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/>
            </a:endParaRPr>
          </a:p>
        </p:txBody>
      </p:sp>
      <p:pic>
        <p:nvPicPr>
          <p:cNvPr id="497553635" name="Image 68799309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96848" y="4001294"/>
            <a:ext cx="1998303" cy="1998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217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2AE540-EA28-A122-0D40-DA4C69E69F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/>
              <a:t>Финансирование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179235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Title 1">
            <a:extLst>
              <a:ext uri="{FF2B5EF4-FFF2-40B4-BE49-F238E27FC236}">
                <a16:creationId xmlns:a16="http://schemas.microsoft.com/office/drawing/2014/main" id="{4EDE55D3-8BCA-EBC4-16D1-45983CAF0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29846"/>
            <a:ext cx="10515600" cy="1325563"/>
          </a:xfrm>
        </p:spPr>
        <p:txBody>
          <a:bodyPr/>
          <a:lstStyle/>
          <a:p>
            <a:r>
              <a:rPr lang="ru-RU"/>
              <a:t>Финансирование</a:t>
            </a:r>
            <a:endParaRPr lang="en-US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5C602516-6C1C-4CB1-B994-6E727289FC88}"/>
              </a:ext>
            </a:extLst>
          </p:cNvPr>
          <p:cNvGrpSpPr/>
          <p:nvPr/>
        </p:nvGrpSpPr>
        <p:grpSpPr>
          <a:xfrm>
            <a:off x="1230087" y="1132113"/>
            <a:ext cx="10863939" cy="5171003"/>
            <a:chOff x="1230087" y="1132113"/>
            <a:chExt cx="10863939" cy="5171003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BB4560C1-688A-4E82-94D7-962A9D0699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299564" y="1288957"/>
              <a:ext cx="7592871" cy="5014159"/>
            </a:xfrm>
            <a:prstGeom prst="rect">
              <a:avLst/>
            </a:prstGeom>
            <a:solidFill>
              <a:srgbClr val="FFFFFF"/>
            </a:solidFill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BEE7D95C-E969-419D-8DE6-D6B4CE2C9C78}"/>
                </a:ext>
              </a:extLst>
            </p:cNvPr>
            <p:cNvSpPr/>
            <p:nvPr/>
          </p:nvSpPr>
          <p:spPr>
            <a:xfrm>
              <a:off x="2133600" y="1132113"/>
              <a:ext cx="4071257" cy="805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Структура источников финансирования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B463FF27-87DC-4BBF-A020-A99FED1EF247}"/>
                </a:ext>
              </a:extLst>
            </p:cNvPr>
            <p:cNvSpPr/>
            <p:nvPr/>
          </p:nvSpPr>
          <p:spPr>
            <a:xfrm>
              <a:off x="1230087" y="2264229"/>
              <a:ext cx="2721428" cy="424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Forem</a:t>
              </a: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 (</a:t>
              </a:r>
              <a:r>
                <a: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государственное финансирование)</a:t>
              </a: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F3ABE45F-A962-40B1-8C97-CCBE40B052D3}"/>
                </a:ext>
              </a:extLst>
            </p:cNvPr>
            <p:cNvSpPr/>
            <p:nvPr/>
          </p:nvSpPr>
          <p:spPr>
            <a:xfrm>
              <a:off x="5910944" y="5569043"/>
              <a:ext cx="5050968" cy="424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Валлония</a:t>
              </a:r>
              <a:r>
                <a: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 (государственное финансирование)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C9C8C7A1-D6FB-4A8D-B021-9BC13474B6A4}"/>
                </a:ext>
              </a:extLst>
            </p:cNvPr>
            <p:cNvSpPr/>
            <p:nvPr/>
          </p:nvSpPr>
          <p:spPr>
            <a:xfrm>
              <a:off x="6858002" y="4665529"/>
              <a:ext cx="5050968" cy="424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Европа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4585F7BC-7F36-4DEA-976B-4DAC7740867C}"/>
                </a:ext>
              </a:extLst>
            </p:cNvPr>
            <p:cNvSpPr/>
            <p:nvPr/>
          </p:nvSpPr>
          <p:spPr>
            <a:xfrm>
              <a:off x="7043058" y="4001501"/>
              <a:ext cx="5050968" cy="424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Proximus</a:t>
              </a:r>
              <a:r>
                <a: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/>
                  <a:cs typeface="Arial"/>
                </a:rPr>
                <a:t> и продажи (частное финансирование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091461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B774C6-CFD1-2995-880B-EC1981558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Финансовая структура 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358C309-12E3-2C8A-6B0A-53AA01A5FA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Ключевые показатели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Общий бюджет</a:t>
            </a:r>
            <a:r>
              <a:rPr lang="fr-FR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: </a:t>
            </a: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≈ 3,2 млн евро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Доля государственных субсидий: 85–90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Доля частных средств и средств ЕС: 10–15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Количество источников финансирования: 8–10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Структура по типам источников финансирования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fr-FR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Forem </a:t>
            </a: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-</a:t>
            </a:r>
            <a:r>
              <a:rPr lang="fr-FR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государственные средства: 70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 err="1">
                <a:latin typeface="Futura Medium" panose="020B0602020204020303" pitchFamily="34" charset="-79"/>
                <a:cs typeface="Futura Medium" panose="020B0602020204020303" pitchFamily="34" charset="-79"/>
              </a:rPr>
              <a:t>Валлония</a:t>
            </a: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 - государственные средства: 15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Европа</a:t>
            </a:r>
            <a:r>
              <a:rPr lang="fr-FR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: 5%</a:t>
            </a: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 err="1">
                <a:latin typeface="Futura Medium" panose="020B0602020204020303" pitchFamily="34" charset="-79"/>
                <a:cs typeface="Futura Medium" panose="020B0602020204020303" pitchFamily="34" charset="-79"/>
              </a:rPr>
              <a:t>Proximus</a:t>
            </a: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 и продажи — частные средства: 5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fr-FR" altLang="fr-FR" sz="5400">
              <a:solidFill>
                <a:schemeClr val="tx1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77705669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8214F-153C-A1BE-9E92-2E34A64FC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54062D-1B81-B7CD-9019-F77D5B028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Финансовая структура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1AEB2CF-F6E5-3B7F-7939-98C3D026C3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Расходы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Персонал</a:t>
            </a:r>
            <a:r>
              <a:rPr lang="fr-FR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: 39</a:t>
            </a: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,</a:t>
            </a:r>
            <a:r>
              <a:rPr lang="fr-FR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6%</a:t>
            </a: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Вознаграждение внешних тренеров: 27,9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Услуги и прочие операционные расходы: 25,6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Амортизация: 6,7 %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fr-FR">
                <a:latin typeface="Futura Medium" panose="020B0602020204020303" pitchFamily="34" charset="-79"/>
                <a:cs typeface="Futura Medium" panose="020B0602020204020303" pitchFamily="34" charset="-79"/>
              </a:rPr>
              <a:t>Организация с высокой долей человеческого капитала</a:t>
            </a:r>
            <a:endParaRPr lang="fr-FR" alt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lvl="0" indent="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fr-FR" altLang="fr-FR" sz="5400">
              <a:solidFill>
                <a:schemeClr val="tx1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endParaRPr lang="fr-FR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4598791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E73329-C460-B828-065B-FA7ED70F63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err="1"/>
              <a:t>Isatcove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35C41C8-47EC-F41D-9B3D-BB913A5B81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48617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499CC8-380B-D788-D809-D577BD3A2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Почему </a:t>
            </a:r>
            <a:r>
              <a:rPr lang="fr-FR"/>
              <a:t> IsatCove 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FD94EE8-551E-CC90-C465-5AD6190415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89090" y="1555668"/>
            <a:ext cx="9464710" cy="4621295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Структурированная основа для непрерывного совершенствования</a:t>
            </a:r>
          </a:p>
          <a:p>
            <a:pPr marL="0" indent="0">
              <a:buNone/>
            </a:pPr>
            <a:r>
              <a:rPr lang="fr-BE" sz="1800">
                <a:latin typeface="Futura Medium" panose="020B0602020204020303" pitchFamily="34" charset="-79"/>
                <a:cs typeface="Futura Medium" panose="020B0602020204020303" pitchFamily="34" charset="-79"/>
              </a:rPr>
              <a:t>ISAT-CoVE 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предоставляет структурированную рамку самооценки, которая помогает 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Technobel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проанализировать свои практики и определить конкретные шаги по их улучшению</a:t>
            </a:r>
            <a:r>
              <a:rPr lang="fr-BE" sz="1800">
                <a:latin typeface="Futura Medium" panose="020B0602020204020303" pitchFamily="34" charset="-79"/>
                <a:cs typeface="Futura Medium" panose="020B0602020204020303" pitchFamily="34" charset="-79"/>
              </a:rPr>
              <a:t>.</a:t>
            </a:r>
          </a:p>
          <a:p>
            <a:pPr marL="0" indent="0">
              <a:buNone/>
            </a:pPr>
            <a:endParaRPr lang="fr-BE" sz="18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Единый европейский язык</a:t>
            </a:r>
          </a:p>
          <a:p>
            <a:pPr marL="0" indent="0">
              <a:buNone/>
            </a:pP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ISAT-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CoVE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предлагает общую европейскую основу для диалога с партнерами, компаниями и учреждениями в разных странах. Это система сотрудничества, объединяющая профессионально-техническое образование и обучение.</a:t>
            </a:r>
          </a:p>
          <a:p>
            <a:pPr marL="0" indent="0">
              <a:buNone/>
            </a:pPr>
            <a:endParaRPr lang="ru-RU" sz="1800" b="1">
              <a:latin typeface="Futura PT Bold" panose="020B0602020204020303" pitchFamily="34" charset="77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От интуиции к доказательствам</a:t>
            </a:r>
          </a:p>
          <a:p>
            <a:pPr marL="0" indent="0">
              <a:buNone/>
            </a:pP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Инструмент позволяет 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Technobel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перейти от неформальной обратной связи к анализу, основанному на доказательствах, выявляя сильные стороны и потребности в развитии.</a:t>
            </a:r>
          </a:p>
          <a:p>
            <a:pPr marL="0" indent="0">
              <a:buNone/>
            </a:pPr>
            <a:endParaRPr lang="fr-BE" sz="18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Более тесная согласованность с европейскими приоритетами </a:t>
            </a:r>
            <a:endParaRPr lang="fr-BE" sz="1800" b="1">
              <a:latin typeface="Futura PT Bold" panose="020B0602020204020303" pitchFamily="34" charset="77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SAT-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CoVE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поддерживает согласование деятельности с европейскими приоритетами в области навыков, инклюзии, устойчивого развития и инноваций в профессиональном образовании</a:t>
            </a:r>
            <a:r>
              <a:rPr lang="fr-BE" sz="1800">
                <a:latin typeface="Futura Medium" panose="020B0602020204020303" pitchFamily="34" charset="-79"/>
                <a:cs typeface="Futura Medium" panose="020B0602020204020303" pitchFamily="34" charset="-79"/>
              </a:rPr>
              <a:t>.</a:t>
            </a:r>
            <a:endParaRPr lang="ru-RU" sz="18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endParaRPr lang="fr-BE" sz="18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endParaRPr lang="fr-FR" sz="1800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5" name="Graphique 4" descr="Hiérarchie avec un remplissage uni">
            <a:extLst>
              <a:ext uri="{FF2B5EF4-FFF2-40B4-BE49-F238E27FC236}">
                <a16:creationId xmlns:a16="http://schemas.microsoft.com/office/drawing/2014/main" id="{298A3476-6C4F-4D49-213F-9CB760BCA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4690" y="1555668"/>
            <a:ext cx="914400" cy="914400"/>
          </a:xfrm>
          <a:prstGeom prst="rect">
            <a:avLst/>
          </a:prstGeom>
        </p:spPr>
      </p:pic>
      <p:pic>
        <p:nvPicPr>
          <p:cNvPr id="7" name="Graphique 6" descr="Excellent avec un remplissage uni">
            <a:extLst>
              <a:ext uri="{FF2B5EF4-FFF2-40B4-BE49-F238E27FC236}">
                <a16:creationId xmlns:a16="http://schemas.microsoft.com/office/drawing/2014/main" id="{B3EB5663-A07D-749C-4730-5FEBDDF806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4690" y="2733810"/>
            <a:ext cx="914400" cy="914400"/>
          </a:xfrm>
          <a:prstGeom prst="rect">
            <a:avLst/>
          </a:prstGeom>
        </p:spPr>
      </p:pic>
      <p:pic>
        <p:nvPicPr>
          <p:cNvPr id="9" name="Graphique 8" descr="Ouverture avec un remplissage uni">
            <a:extLst>
              <a:ext uri="{FF2B5EF4-FFF2-40B4-BE49-F238E27FC236}">
                <a16:creationId xmlns:a16="http://schemas.microsoft.com/office/drawing/2014/main" id="{DBA87937-7E9A-FE49-5750-2670E4B09E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4690" y="4001294"/>
            <a:ext cx="914400" cy="914400"/>
          </a:xfrm>
          <a:prstGeom prst="rect">
            <a:avLst/>
          </a:prstGeom>
        </p:spPr>
      </p:pic>
      <p:pic>
        <p:nvPicPr>
          <p:cNvPr id="11" name="Graphique 10" descr="Priorités avec un remplissage uni">
            <a:extLst>
              <a:ext uri="{FF2B5EF4-FFF2-40B4-BE49-F238E27FC236}">
                <a16:creationId xmlns:a16="http://schemas.microsoft.com/office/drawing/2014/main" id="{F87905CA-1F59-DA88-206E-C8ABDE1BC5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4690" y="517943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81662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286F6A-C7F4-6929-56FB-A823811C9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22AB26-5F53-753A-ACB9-768700C17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Почему</a:t>
            </a:r>
            <a:r>
              <a:rPr lang="fr-FR"/>
              <a:t> IsatCove 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D5DBF-9372-87AD-E8B4-3F66CEBBC8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9476" y="1825625"/>
            <a:ext cx="9384323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Коллективный и </a:t>
            </a:r>
            <a:r>
              <a:rPr lang="ru-RU" sz="1800" b="1" err="1">
                <a:latin typeface="Futura PT Bold" panose="020B0602020204020303" pitchFamily="34" charset="77"/>
                <a:cs typeface="FUTURA MEDIUM" panose="020B0602020204020303" pitchFamily="34" charset="-79"/>
              </a:rPr>
              <a:t>партисипативный</a:t>
            </a: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 подход</a:t>
            </a:r>
          </a:p>
          <a:p>
            <a:pPr marL="0" indent="0">
              <a:buNone/>
            </a:pP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Процесс самооценки вовлекает сотрудников, обучающихся и партнёров, способствуя формированию общей ответственности и коллективного осмысления.</a:t>
            </a:r>
          </a:p>
          <a:p>
            <a:pPr marL="0" indent="0">
              <a:buNone/>
            </a:pPr>
            <a:endParaRPr lang="fr-BE" sz="18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Поддержка стратегических решений</a:t>
            </a:r>
          </a:p>
          <a:p>
            <a:pPr marL="0" indent="0">
              <a:buNone/>
            </a:pP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Результаты ISAT-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CoVE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помогают структурировать планы действий и поддерживают принятие стратегических и педагогических решений.</a:t>
            </a:r>
          </a:p>
          <a:p>
            <a:pPr marL="0" indent="0">
              <a:buNone/>
            </a:pPr>
            <a:endParaRPr lang="ru-RU" sz="1800" b="1">
              <a:latin typeface="Futura PT Bold" panose="020B0602020204020303" pitchFamily="34" charset="77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1800" b="1">
                <a:latin typeface="Futura PT Bold" panose="020B0602020204020303" pitchFamily="34" charset="77"/>
                <a:cs typeface="FUTURA MEDIUM" panose="020B0602020204020303" pitchFamily="34" charset="-79"/>
              </a:rPr>
              <a:t>Повышение видимости и доверия</a:t>
            </a:r>
          </a:p>
          <a:p>
            <a:pPr marL="0" indent="0">
              <a:buNone/>
            </a:pP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Участие в ISAT-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CoVE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усиливает видимость и доверие к </a:t>
            </a:r>
            <a:r>
              <a:rPr lang="ru-RU" sz="1800" err="1">
                <a:latin typeface="Futura Medium" panose="020B0602020204020303" pitchFamily="34" charset="-79"/>
                <a:cs typeface="Futura Medium" panose="020B0602020204020303" pitchFamily="34" charset="-79"/>
              </a:rPr>
              <a:t>Technobel</a:t>
            </a:r>
            <a:r>
              <a:rPr lang="ru-RU" sz="1800">
                <a:latin typeface="Futura Medium" panose="020B0602020204020303" pitchFamily="34" charset="-79"/>
                <a:cs typeface="Futura Medium" panose="020B0602020204020303" pitchFamily="34" charset="-79"/>
              </a:rPr>
              <a:t> на европейском уровне как к центру, ориентированному на достижение совершенства.</a:t>
            </a:r>
            <a:endParaRPr lang="fr-FR" sz="2000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5" name="Graphique 4" descr="Groupe de personnes avec un remplissage uni">
            <a:extLst>
              <a:ext uri="{FF2B5EF4-FFF2-40B4-BE49-F238E27FC236}">
                <a16:creationId xmlns:a16="http://schemas.microsoft.com/office/drawing/2014/main" id="{9B61FC7F-AF4C-5D4D-8D97-BA35D592EE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076" y="1825625"/>
            <a:ext cx="914400" cy="914400"/>
          </a:xfrm>
          <a:prstGeom prst="rect">
            <a:avLst/>
          </a:prstGeom>
        </p:spPr>
      </p:pic>
      <p:pic>
        <p:nvPicPr>
          <p:cNvPr id="7" name="Graphique 6" descr="Femme juge contour">
            <a:extLst>
              <a:ext uri="{FF2B5EF4-FFF2-40B4-BE49-F238E27FC236}">
                <a16:creationId xmlns:a16="http://schemas.microsoft.com/office/drawing/2014/main" id="{E96ECC50-48BB-2E0D-B29E-A16DDA65BE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5076" y="3292434"/>
            <a:ext cx="914400" cy="914400"/>
          </a:xfrm>
          <a:prstGeom prst="rect">
            <a:avLst/>
          </a:prstGeom>
        </p:spPr>
      </p:pic>
      <p:pic>
        <p:nvPicPr>
          <p:cNvPr id="9" name="Graphique 8" descr="Brainstorming de groupe avec un remplissage uni">
            <a:extLst>
              <a:ext uri="{FF2B5EF4-FFF2-40B4-BE49-F238E27FC236}">
                <a16:creationId xmlns:a16="http://schemas.microsoft.com/office/drawing/2014/main" id="{0B60D824-462E-8D51-1326-279DA1EFAF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076" y="462247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589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A2CF8B0-C092-B5A5-CA32-25A98A79C0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59AC6E05-81EA-BF30-C110-A7511A380A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55C9674-7A63-3D39-6DCF-13DF1402AFE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5C50C86-7069-2574-08C8-77480D1879B5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F2E500-AF22-0BD3-942B-5385FD3763DB}"/>
              </a:ext>
            </a:extLst>
          </p:cNvPr>
          <p:cNvSpPr txBox="1">
            <a:spLocks/>
          </p:cNvSpPr>
          <p:nvPr/>
        </p:nvSpPr>
        <p:spPr>
          <a:xfrm>
            <a:off x="991518" y="441870"/>
            <a:ext cx="10592438" cy="504056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519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Совершенствование систем ПОО</a:t>
            </a:r>
            <a:r>
              <a:rPr lang="en-GB">
                <a:solidFill>
                  <a:srgbClr val="000000"/>
                </a:solidFill>
              </a:rPr>
              <a:t>: </a:t>
            </a:r>
            <a:r>
              <a:rPr lang="ru-RU">
                <a:solidFill>
                  <a:srgbClr val="000000"/>
                </a:solidFill>
              </a:rPr>
              <a:t>Модель ЦПМ</a:t>
            </a:r>
            <a:endParaRPr lang="en-GB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84B193-B627-7486-456A-AE33154F7CA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FEAF0A0-FD07-DD8B-D261-CA137052A55D}"/>
              </a:ext>
            </a:extLst>
          </p:cNvPr>
          <p:cNvGrpSpPr/>
          <p:nvPr/>
        </p:nvGrpSpPr>
        <p:grpSpPr>
          <a:xfrm>
            <a:off x="3495749" y="1573239"/>
            <a:ext cx="4788000" cy="4788000"/>
            <a:chOff x="3500101" y="1506566"/>
            <a:chExt cx="4879496" cy="489133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9679BF2-010B-C1AB-40D8-D3AD869F66C1}"/>
                </a:ext>
              </a:extLst>
            </p:cNvPr>
            <p:cNvGrpSpPr/>
            <p:nvPr/>
          </p:nvGrpSpPr>
          <p:grpSpPr>
            <a:xfrm>
              <a:off x="3500101" y="1506566"/>
              <a:ext cx="4879496" cy="4891338"/>
              <a:chOff x="3296002" y="1472699"/>
              <a:chExt cx="4879496" cy="4891338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6EE42BFA-987B-C7E9-FEFC-2019608DF8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296002" y="1472699"/>
                <a:ext cx="4879496" cy="4891338"/>
              </a:xfrm>
              <a:prstGeom prst="rect">
                <a:avLst/>
              </a:prstGeom>
            </p:spPr>
          </p:pic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04B7B739-1FC0-F065-F3C0-C08832C1EDCC}"/>
                  </a:ext>
                </a:extLst>
              </p:cNvPr>
              <p:cNvSpPr/>
              <p:nvPr/>
            </p:nvSpPr>
            <p:spPr>
              <a:xfrm>
                <a:off x="4847492" y="3024369"/>
                <a:ext cx="1836000" cy="1836000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1DC8FFD-9DCD-AFC4-8484-6751E518E988}"/>
                </a:ext>
              </a:extLst>
            </p:cNvPr>
            <p:cNvSpPr txBox="1"/>
            <p:nvPr/>
          </p:nvSpPr>
          <p:spPr>
            <a:xfrm>
              <a:off x="5167584" y="3320112"/>
              <a:ext cx="1604014" cy="5973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200" b="1">
                  <a:latin typeface="Aptos" panose="020B0004020202020204" pitchFamily="34" charset="0"/>
                </a:rPr>
                <a:t>ЦПМ</a:t>
              </a:r>
              <a:endParaRPr lang="en-GB" sz="3200" b="1">
                <a:latin typeface="Aptos" panose="020B0004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D1B0CA0-D007-2330-C74E-F838FC7885BF}"/>
              </a:ext>
            </a:extLst>
          </p:cNvPr>
          <p:cNvGrpSpPr/>
          <p:nvPr/>
        </p:nvGrpSpPr>
        <p:grpSpPr>
          <a:xfrm>
            <a:off x="5170398" y="3986651"/>
            <a:ext cx="1498150" cy="648372"/>
            <a:chOff x="5276699" y="4139407"/>
            <a:chExt cx="1498150" cy="648372"/>
          </a:xfrm>
        </p:grpSpPr>
        <p:sp>
          <p:nvSpPr>
            <p:cNvPr id="5" name="Flowchart: Preparation 4">
              <a:extLst>
                <a:ext uri="{FF2B5EF4-FFF2-40B4-BE49-F238E27FC236}">
                  <a16:creationId xmlns:a16="http://schemas.microsoft.com/office/drawing/2014/main" id="{2756DEDA-2429-BFDC-92DA-13AC38F4FB28}"/>
                </a:ext>
              </a:extLst>
            </p:cNvPr>
            <p:cNvSpPr/>
            <p:nvPr/>
          </p:nvSpPr>
          <p:spPr>
            <a:xfrm>
              <a:off x="5276699" y="4139407"/>
              <a:ext cx="539880" cy="432248"/>
            </a:xfrm>
            <a:prstGeom prst="flowChartPreparation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Flowchart: Preparation 6">
              <a:extLst>
                <a:ext uri="{FF2B5EF4-FFF2-40B4-BE49-F238E27FC236}">
                  <a16:creationId xmlns:a16="http://schemas.microsoft.com/office/drawing/2014/main" id="{4D2C2324-6A0C-4C76-8DD3-DAFB838CEA79}"/>
                </a:ext>
              </a:extLst>
            </p:cNvPr>
            <p:cNvSpPr/>
            <p:nvPr/>
          </p:nvSpPr>
          <p:spPr>
            <a:xfrm>
              <a:off x="5755294" y="4355531"/>
              <a:ext cx="539880" cy="432248"/>
            </a:xfrm>
            <a:prstGeom prst="flowChartPreparation">
              <a:avLst/>
            </a:prstGeom>
            <a:solidFill>
              <a:srgbClr val="FFC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Flowchart: Preparation 7">
              <a:extLst>
                <a:ext uri="{FF2B5EF4-FFF2-40B4-BE49-F238E27FC236}">
                  <a16:creationId xmlns:a16="http://schemas.microsoft.com/office/drawing/2014/main" id="{F57D9580-153F-C506-513F-E67C5495FE50}"/>
                </a:ext>
              </a:extLst>
            </p:cNvPr>
            <p:cNvSpPr/>
            <p:nvPr/>
          </p:nvSpPr>
          <p:spPr>
            <a:xfrm>
              <a:off x="6234969" y="4139407"/>
              <a:ext cx="539880" cy="432248"/>
            </a:xfrm>
            <a:prstGeom prst="flowChartPreparati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E440C26-B56B-1116-E54E-D679044F3571}"/>
              </a:ext>
            </a:extLst>
          </p:cNvPr>
          <p:cNvSpPr txBox="1"/>
          <p:nvPr/>
        </p:nvSpPr>
        <p:spPr>
          <a:xfrm>
            <a:off x="4570306" y="1254695"/>
            <a:ext cx="26972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>
                <a:latin typeface="Aptos" panose="020B0004020202020204" pitchFamily="34" charset="0"/>
              </a:rPr>
              <a:t>Разработчики политики</a:t>
            </a:r>
            <a:endParaRPr lang="en-GB" sz="1600" b="1">
              <a:latin typeface="Aptos" panose="020B00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B2ACF9-263E-D2EF-03A7-1725E4DA0335}"/>
              </a:ext>
            </a:extLst>
          </p:cNvPr>
          <p:cNvSpPr txBox="1"/>
          <p:nvPr/>
        </p:nvSpPr>
        <p:spPr>
          <a:xfrm>
            <a:off x="5087742" y="6309320"/>
            <a:ext cx="1604014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ru-RU" sz="1600" b="1">
                <a:latin typeface="Aptos"/>
              </a:rPr>
              <a:t>университеты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DE5A84-69E7-AFCE-AC01-B0D3C6491AB8}"/>
              </a:ext>
            </a:extLst>
          </p:cNvPr>
          <p:cNvSpPr txBox="1"/>
          <p:nvPr/>
        </p:nvSpPr>
        <p:spPr>
          <a:xfrm>
            <a:off x="8040216" y="2643176"/>
            <a:ext cx="19762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>
                <a:latin typeface="Aptos" panose="020B0004020202020204" pitchFamily="34" charset="0"/>
              </a:rPr>
              <a:t>Координирующие органы</a:t>
            </a:r>
            <a:endParaRPr lang="en-GB" sz="1600" b="1">
              <a:latin typeface="Aptos" panose="020B00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5933D2-0FBA-1336-2494-7C5A7D0BA12E}"/>
              </a:ext>
            </a:extLst>
          </p:cNvPr>
          <p:cNvSpPr txBox="1"/>
          <p:nvPr/>
        </p:nvSpPr>
        <p:spPr>
          <a:xfrm>
            <a:off x="1922709" y="2643175"/>
            <a:ext cx="16314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>
                <a:latin typeface="Aptos" panose="020B0004020202020204" pitchFamily="34" charset="0"/>
              </a:rPr>
              <a:t>Преподавание и обучение</a:t>
            </a:r>
            <a:endParaRPr lang="en-GB" sz="1600" b="1">
              <a:latin typeface="Aptos" panose="020B00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1E5ABE-4853-6B2D-624A-A09E0D72C166}"/>
              </a:ext>
            </a:extLst>
          </p:cNvPr>
          <p:cNvSpPr txBox="1"/>
          <p:nvPr/>
        </p:nvSpPr>
        <p:spPr>
          <a:xfrm>
            <a:off x="7968208" y="4818638"/>
            <a:ext cx="17968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>
                <a:latin typeface="Aptos" panose="020B0004020202020204" pitchFamily="34" charset="0"/>
              </a:rPr>
              <a:t>Работодатели</a:t>
            </a:r>
            <a:endParaRPr lang="en-GB" sz="1600" b="1">
              <a:latin typeface="Aptos" panose="020B00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3B16BE-FCD8-4E75-381F-CE829321EDB4}"/>
              </a:ext>
            </a:extLst>
          </p:cNvPr>
          <p:cNvSpPr txBox="1"/>
          <p:nvPr/>
        </p:nvSpPr>
        <p:spPr>
          <a:xfrm>
            <a:off x="2096708" y="4818638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>
                <a:latin typeface="Aptos" panose="020B0004020202020204" pitchFamily="34" charset="0"/>
              </a:rPr>
              <a:t>Профсоюзы</a:t>
            </a:r>
            <a:endParaRPr lang="en-GB" sz="1600" b="1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9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1635A3A-0D0D-13BC-AE4B-CF56B3CFB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Выбор критериев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530F487-D48E-692B-6079-39F8FFA0FB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48511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1800">
                <a:latin typeface="Futura PT Medium" panose="020B0602020204020303" pitchFamily="34" charset="77"/>
              </a:rPr>
              <a:t>Выбор критериев и индикаторов был основан на стратегических приоритетах </a:t>
            </a:r>
            <a:r>
              <a:rPr lang="ru-RU" sz="1800" err="1">
                <a:latin typeface="Futura PT Medium" panose="020B0602020204020303" pitchFamily="34" charset="77"/>
              </a:rPr>
              <a:t>Technobel</a:t>
            </a:r>
            <a:r>
              <a:rPr lang="ru-RU" sz="1800">
                <a:latin typeface="Futura PT Medium" panose="020B0602020204020303" pitchFamily="34" charset="77"/>
              </a:rPr>
              <a:t> и организационной реальности компании.</a:t>
            </a:r>
          </a:p>
          <a:p>
            <a:pPr marL="0" indent="0">
              <a:buNone/>
            </a:pPr>
            <a:endParaRPr lang="fr-BE" sz="18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1800">
                <a:latin typeface="Futura PT Medium" panose="020B0602020204020303" pitchFamily="34" charset="77"/>
              </a:rPr>
              <a:t>Из 577 доступных индикаторов мы сознательно выбрали большое количество, чтобы получить всестороннее и детальное представление о нашей практике.</a:t>
            </a:r>
          </a:p>
          <a:p>
            <a:pPr marL="0" indent="0">
              <a:buNone/>
            </a:pPr>
            <a:endParaRPr lang="ru-RU" sz="18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1800">
                <a:latin typeface="Futura PT Medium" panose="020B0602020204020303" pitchFamily="34" charset="77"/>
              </a:rPr>
              <a:t>Этот выбор был обусловлен внутренними обсуждениями и обменом мнениями, что позволило нам отдать приоритет актуальности и обучению, а не ограничиваться минимальным выполнением требований.</a:t>
            </a:r>
            <a:endParaRPr lang="fr-BE" sz="18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endParaRPr lang="fr-FR" sz="1800">
              <a:latin typeface="Futura PT Medium" panose="020B0602020204020303" pitchFamily="34" charset="77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219926D-B7FF-BE01-6598-DB69FC73A46B}"/>
              </a:ext>
            </a:extLst>
          </p:cNvPr>
          <p:cNvSpPr txBox="1"/>
          <p:nvPr/>
        </p:nvSpPr>
        <p:spPr>
          <a:xfrm>
            <a:off x="1206334" y="4714504"/>
            <a:ext cx="25581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>
                <a:solidFill>
                  <a:srgbClr val="064C68"/>
                </a:solidFill>
                <a:latin typeface="Futura PT Medium" panose="020B0602020204020303" pitchFamily="34" charset="77"/>
              </a:rPr>
              <a:t>Управление и финансирование</a:t>
            </a:r>
            <a:r>
              <a:rPr lang="fr-FR">
                <a:solidFill>
                  <a:srgbClr val="064C68"/>
                </a:solidFill>
                <a:latin typeface="Futura PT Medium" panose="020B0602020204020303" pitchFamily="34" charset="77"/>
              </a:rPr>
              <a:t> </a:t>
            </a:r>
          </a:p>
          <a:p>
            <a:pPr algn="ctr"/>
            <a:r>
              <a:rPr lang="fr-FR">
                <a:solidFill>
                  <a:srgbClr val="064C68"/>
                </a:solidFill>
                <a:latin typeface="Futura PT Medium" panose="020B0602020204020303" pitchFamily="34" charset="77"/>
              </a:rPr>
              <a:t>31</a:t>
            </a:r>
          </a:p>
          <a:p>
            <a:pPr algn="ctr"/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59E170F-DBBF-31B8-272D-57ED026625FC}"/>
              </a:ext>
            </a:extLst>
          </p:cNvPr>
          <p:cNvSpPr txBox="1"/>
          <p:nvPr/>
        </p:nvSpPr>
        <p:spPr>
          <a:xfrm>
            <a:off x="4816928" y="4714504"/>
            <a:ext cx="25581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>
                <a:solidFill>
                  <a:srgbClr val="064C68"/>
                </a:solidFill>
                <a:latin typeface="Futura PT Medium" panose="020B0602020204020303" pitchFamily="34" charset="77"/>
              </a:rPr>
              <a:t>Преподавание и обучение</a:t>
            </a:r>
            <a:r>
              <a:rPr lang="fr-FR">
                <a:solidFill>
                  <a:srgbClr val="064C68"/>
                </a:solidFill>
                <a:latin typeface="Futura PT Medium" panose="020B0602020204020303" pitchFamily="34" charset="77"/>
              </a:rPr>
              <a:t> </a:t>
            </a:r>
          </a:p>
          <a:p>
            <a:pPr algn="ctr"/>
            <a:r>
              <a:rPr lang="fr-FR">
                <a:solidFill>
                  <a:srgbClr val="064C68"/>
                </a:solidFill>
                <a:latin typeface="Futura PT Medium" panose="020B0602020204020303" pitchFamily="34" charset="77"/>
              </a:rPr>
              <a:t>69</a:t>
            </a:r>
          </a:p>
          <a:p>
            <a:pPr algn="ctr"/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CBBB632-9105-E243-C3D3-76684F7FA26E}"/>
              </a:ext>
            </a:extLst>
          </p:cNvPr>
          <p:cNvSpPr txBox="1"/>
          <p:nvPr/>
        </p:nvSpPr>
        <p:spPr>
          <a:xfrm>
            <a:off x="8427522" y="4714504"/>
            <a:ext cx="26877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>
                <a:solidFill>
                  <a:srgbClr val="064C68"/>
                </a:solidFill>
                <a:latin typeface="Futura PT Medium" panose="020B0602020204020303" pitchFamily="34" charset="77"/>
              </a:rPr>
              <a:t>Партнёрство и </a:t>
            </a:r>
            <a:r>
              <a:rPr lang="ru-RU" err="1">
                <a:solidFill>
                  <a:srgbClr val="064C68"/>
                </a:solidFill>
                <a:latin typeface="Futura PT Medium" panose="020B0602020204020303" pitchFamily="34" charset="77"/>
              </a:rPr>
              <a:t>сотудничество</a:t>
            </a:r>
            <a:endParaRPr lang="fr-FR">
              <a:solidFill>
                <a:srgbClr val="064C68"/>
              </a:solidFill>
              <a:latin typeface="Futura PT Medium" panose="020B0602020204020303" pitchFamily="34" charset="77"/>
            </a:endParaRPr>
          </a:p>
          <a:p>
            <a:pPr algn="ctr"/>
            <a:r>
              <a:rPr lang="fr-FR">
                <a:solidFill>
                  <a:srgbClr val="064C68"/>
                </a:solidFill>
                <a:latin typeface="Futura PT Medium" panose="020B0602020204020303" pitchFamily="34" charset="77"/>
              </a:rPr>
              <a:t>25</a:t>
            </a:r>
          </a:p>
          <a:p>
            <a:pPr algn="ctr"/>
            <a:endParaRPr lang="fr-FR"/>
          </a:p>
        </p:txBody>
      </p:sp>
      <p:pic>
        <p:nvPicPr>
          <p:cNvPr id="8" name="Graphique 7" descr="Tirelire avec un remplissage uni">
            <a:extLst>
              <a:ext uri="{FF2B5EF4-FFF2-40B4-BE49-F238E27FC236}">
                <a16:creationId xmlns:a16="http://schemas.microsoft.com/office/drawing/2014/main" id="{0AA488E0-8392-6A9C-96A6-63BEFDAC8A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8205" y="5370616"/>
            <a:ext cx="914400" cy="914400"/>
          </a:xfrm>
          <a:prstGeom prst="rect">
            <a:avLst/>
          </a:prstGeom>
        </p:spPr>
      </p:pic>
      <p:pic>
        <p:nvPicPr>
          <p:cNvPr id="10" name="Graphique 9" descr="École avec un remplissage uni">
            <a:extLst>
              <a:ext uri="{FF2B5EF4-FFF2-40B4-BE49-F238E27FC236}">
                <a16:creationId xmlns:a16="http://schemas.microsoft.com/office/drawing/2014/main" id="{CC46F2BC-048B-12DC-7D5A-20A5F9103A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799" y="5370616"/>
            <a:ext cx="914400" cy="914400"/>
          </a:xfrm>
          <a:prstGeom prst="rect">
            <a:avLst/>
          </a:prstGeom>
        </p:spPr>
      </p:pic>
      <p:pic>
        <p:nvPicPr>
          <p:cNvPr id="12" name="Graphique 11" descr="Vivats avec un remplissage uni">
            <a:extLst>
              <a:ext uri="{FF2B5EF4-FFF2-40B4-BE49-F238E27FC236}">
                <a16:creationId xmlns:a16="http://schemas.microsoft.com/office/drawing/2014/main" id="{E0484A45-35FE-75F5-AAC5-0AFDBECE2B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4213" y="537061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675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B66EB00-ACE9-E2E0-464F-A813E2DBD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сновные индикаторы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5A17083-081B-14E0-64EB-C2A2A44685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281" y="1507126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BE" b="1"/>
              <a:t>TL10 – </a:t>
            </a:r>
            <a:r>
              <a:rPr lang="ru-RU" b="1"/>
              <a:t>Признаёт, подтверждает и документирует обучение и навыки независимо от того, где и когда они были получены.</a:t>
            </a:r>
            <a:endParaRPr lang="fr-BE"/>
          </a:p>
          <a:p>
            <a:pPr marL="0" indent="0">
              <a:buNone/>
            </a:pPr>
            <a:endParaRPr lang="fr-BE"/>
          </a:p>
          <a:p>
            <a:pPr marL="0" indent="0">
              <a:buNone/>
            </a:pPr>
            <a:r>
              <a:rPr lang="fr-BE" b="1"/>
              <a:t>🔗 </a:t>
            </a:r>
            <a:r>
              <a:rPr lang="ru-RU" b="1"/>
              <a:t>Связь с </a:t>
            </a:r>
            <a:r>
              <a:rPr lang="fr-BE" b="1"/>
              <a:t>Technobel</a:t>
            </a:r>
          </a:p>
          <a:p>
            <a:r>
              <a:rPr lang="ru-RU"/>
              <a:t>Обучение через практику </a:t>
            </a:r>
            <a:r>
              <a:rPr lang="fr-BE"/>
              <a:t>(PlayZone, </a:t>
            </a:r>
            <a:r>
              <a:rPr lang="ru-RU"/>
              <a:t>проекты</a:t>
            </a:r>
            <a:r>
              <a:rPr lang="fr-BE"/>
              <a:t>)</a:t>
            </a:r>
          </a:p>
          <a:p>
            <a:r>
              <a:rPr lang="ru-RU"/>
              <a:t>Навыки оцениваются комиссией  с участием представителей компаний.</a:t>
            </a:r>
          </a:p>
          <a:p>
            <a:r>
              <a:rPr lang="ru-RU"/>
              <a:t>Цифровые бейджи и официальная сертификация</a:t>
            </a:r>
          </a:p>
          <a:p>
            <a:r>
              <a:rPr lang="ru-RU"/>
              <a:t>Признание навыков, полученных вне формальных курсов</a:t>
            </a:r>
          </a:p>
          <a:p>
            <a:pPr marL="0" indent="0">
              <a:buNone/>
            </a:pPr>
            <a:br>
              <a:rPr lang="fr-BE"/>
            </a:br>
            <a:r>
              <a:rPr lang="fr-BE" b="1"/>
              <a:t>👉 </a:t>
            </a:r>
            <a:r>
              <a:rPr lang="ru-RU" b="1"/>
              <a:t>Почему стоит выбрать </a:t>
            </a:r>
            <a:r>
              <a:rPr lang="fr-BE" b="1"/>
              <a:t>Technobel?</a:t>
            </a:r>
          </a:p>
          <a:p>
            <a:pPr marL="0" indent="0">
              <a:buNone/>
            </a:pPr>
            <a:r>
              <a:rPr lang="ru-RU"/>
              <a:t>Потому что он усиливает ваши проектно-ориентированные методы преподавания и практический подход к развитию навыков.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766775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6B5CEF-2550-B744-C19A-9090DAC411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A3B247-6E28-4771-D5CE-9837B95B5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971" y="474171"/>
            <a:ext cx="10944225" cy="1080120"/>
          </a:xfrm>
        </p:spPr>
        <p:txBody>
          <a:bodyPr/>
          <a:lstStyle/>
          <a:p>
            <a:r>
              <a:rPr lang="ru-RU"/>
              <a:t>Основные индикаторы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15D17AE-CE6C-577A-5DF2-F2B9E4CC4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6006" y="1548223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fr-BE" b="1"/>
              <a:t>PC5 – </a:t>
            </a:r>
            <a:r>
              <a:rPr lang="ru-RU" b="1"/>
              <a:t>Осуществляет международное сотрудничество с международными организациями в области развития навыков, ресурсов, персонала и учебных программ</a:t>
            </a:r>
            <a:r>
              <a:rPr lang="fr-BE" b="1"/>
              <a:t>.</a:t>
            </a:r>
            <a:endParaRPr lang="fr-BE"/>
          </a:p>
          <a:p>
            <a:pPr marL="0" indent="0">
              <a:buNone/>
            </a:pPr>
            <a:endParaRPr lang="fr-BE"/>
          </a:p>
          <a:p>
            <a:pPr marL="0" indent="0">
              <a:buNone/>
            </a:pPr>
            <a:r>
              <a:rPr lang="fr-BE" b="1"/>
              <a:t>🔗 </a:t>
            </a:r>
            <a:r>
              <a:rPr lang="ru-RU" b="1"/>
              <a:t>Связь с </a:t>
            </a:r>
            <a:r>
              <a:rPr lang="fr-BE" b="1"/>
              <a:t>Technobel</a:t>
            </a:r>
          </a:p>
          <a:p>
            <a:r>
              <a:rPr lang="ru-RU" sz="2400"/>
              <a:t>Участие в ISAT-</a:t>
            </a:r>
            <a:r>
              <a:rPr lang="ru-RU" sz="2400" err="1"/>
              <a:t>CoVE</a:t>
            </a:r>
            <a:r>
              <a:rPr lang="ru-RU" sz="2400"/>
              <a:t> совместно с ETF</a:t>
            </a:r>
          </a:p>
          <a:p>
            <a:r>
              <a:rPr lang="ru-RU" sz="2400"/>
              <a:t>Европейские проекты </a:t>
            </a:r>
            <a:r>
              <a:rPr lang="fr-BE" sz="2400"/>
              <a:t>(Recogn(AI)ze)</a:t>
            </a:r>
          </a:p>
          <a:p>
            <a:r>
              <a:rPr lang="ru-RU" sz="2400"/>
              <a:t>Развивающееся исследовательское сотрудничество</a:t>
            </a:r>
            <a:endParaRPr lang="fr-BE" sz="2400"/>
          </a:p>
          <a:p>
            <a:r>
              <a:rPr lang="ru-RU" sz="2400"/>
              <a:t>Обмен практиками на уровне ЕС</a:t>
            </a:r>
          </a:p>
          <a:p>
            <a:pPr marL="0" indent="0">
              <a:buNone/>
            </a:pPr>
            <a:endParaRPr lang="fr-BE" sz="2400"/>
          </a:p>
          <a:p>
            <a:pPr marL="0" indent="0">
              <a:buNone/>
            </a:pPr>
            <a:r>
              <a:rPr lang="fr-BE" sz="2400"/>
              <a:t>👉 </a:t>
            </a:r>
            <a:r>
              <a:rPr lang="ru-RU" sz="2400" b="1"/>
              <a:t>Почему стоит выбрать </a:t>
            </a:r>
            <a:r>
              <a:rPr lang="fr-BE" sz="2400" b="1"/>
              <a:t>Technobel?</a:t>
            </a:r>
          </a:p>
          <a:p>
            <a:pPr marL="0" indent="0">
              <a:buNone/>
            </a:pPr>
            <a:r>
              <a:rPr lang="ru-RU" sz="2400"/>
              <a:t>Потому что он связывает управление, автономию и способность к инновациям.  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314190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698F7-AD8B-86D4-FA20-4113BB2E3E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C3039A-53EE-FD8A-1781-E2C1FF69B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07975"/>
            <a:ext cx="10515600" cy="1325563"/>
          </a:xfrm>
        </p:spPr>
        <p:txBody>
          <a:bodyPr/>
          <a:lstStyle/>
          <a:p>
            <a:r>
              <a:rPr lang="ru-RU"/>
              <a:t>Основные индикаторы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9C7D98E-9926-6352-3A79-E15425C8C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45481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BE" b="1"/>
              <a:t>GF1 – </a:t>
            </a:r>
            <a:r>
              <a:rPr lang="ru-RU" b="1"/>
              <a:t>Обладает достаточной автономией для выполнения своей миссии и реализации непрерывного улучшения. </a:t>
            </a:r>
            <a:br>
              <a:rPr lang="fr-BE"/>
            </a:br>
            <a:endParaRPr lang="fr-BE"/>
          </a:p>
          <a:p>
            <a:pPr marL="0" indent="0">
              <a:buNone/>
            </a:pPr>
            <a:r>
              <a:rPr lang="fr-BE" b="1"/>
              <a:t>🔗 </a:t>
            </a:r>
            <a:r>
              <a:rPr lang="ru-RU" b="1"/>
              <a:t>Связь с </a:t>
            </a:r>
            <a:r>
              <a:rPr lang="fr-BE" b="1"/>
              <a:t>Technobel</a:t>
            </a:r>
          </a:p>
          <a:p>
            <a:r>
              <a:rPr lang="ru-RU" sz="2200"/>
              <a:t>Стратегическая автономия в рамках государственно-частного партнёрства</a:t>
            </a:r>
          </a:p>
          <a:p>
            <a:r>
              <a:rPr lang="ru-RU" sz="2200"/>
              <a:t>Совет директоров с участием </a:t>
            </a:r>
            <a:r>
              <a:rPr lang="ru-RU" sz="2200" err="1"/>
              <a:t>Forem</a:t>
            </a:r>
            <a:r>
              <a:rPr lang="ru-RU" sz="2200"/>
              <a:t>, </a:t>
            </a:r>
            <a:r>
              <a:rPr lang="ru-RU" sz="2200" err="1"/>
              <a:t>Proximus</a:t>
            </a:r>
            <a:r>
              <a:rPr lang="ru-RU" sz="2200"/>
              <a:t> и Университета </a:t>
            </a:r>
            <a:r>
              <a:rPr lang="ru-RU" sz="2200" err="1"/>
              <a:t>Намюра</a:t>
            </a:r>
            <a:endParaRPr lang="ru-RU" sz="2200"/>
          </a:p>
          <a:p>
            <a:r>
              <a:rPr lang="ru-RU" sz="2200"/>
              <a:t>Способность адаптировать обучение к потребностям рынка труда</a:t>
            </a:r>
          </a:p>
          <a:p>
            <a:r>
              <a:rPr lang="ru-RU" sz="2200"/>
              <a:t>Использование ISAT-</a:t>
            </a:r>
            <a:r>
              <a:rPr lang="ru-RU" sz="2200" err="1"/>
              <a:t>CoVE</a:t>
            </a:r>
            <a:r>
              <a:rPr lang="ru-RU" sz="2200"/>
              <a:t> для принятия стратегических решений</a:t>
            </a:r>
            <a:endParaRPr lang="fr-BE" sz="2200"/>
          </a:p>
        </p:txBody>
      </p:sp>
    </p:spTree>
    <p:extLst>
      <p:ext uri="{BB962C8B-B14F-4D97-AF65-F5344CB8AC3E}">
        <p14:creationId xmlns:p14="http://schemas.microsoft.com/office/powerpoint/2010/main" val="250446922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4CB99D2-91CF-048E-5321-AB80CC2ABE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/>
              <a:t>Как была сформирована команда самооценки?</a:t>
            </a:r>
            <a:endParaRPr lang="fr-FR" sz="320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97B0647-E1C7-F78B-6DE0-258B2E659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4060" y="1825625"/>
            <a:ext cx="939974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>
                <a:latin typeface="Futura PT Medium" panose="020B0602020204020303" pitchFamily="34" charset="77"/>
              </a:rPr>
              <a:t>Команда самооценки состояла из директора, руководителя проекта и педагогического координатора.</a:t>
            </a:r>
          </a:p>
          <a:p>
            <a:pPr marL="0" indent="0">
              <a:buNone/>
            </a:pPr>
            <a:endParaRPr lang="fr-BE" sz="20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000">
                <a:latin typeface="Futura PT Medium" panose="020B0602020204020303" pitchFamily="34" charset="77"/>
              </a:rPr>
              <a:t>Такой состав обеспечил баланс между стратегическим видением, операционным управлением и педагогической экспертизой в рамках коллектива численностью около 15 сотрудников.</a:t>
            </a:r>
          </a:p>
          <a:p>
            <a:pPr marL="0" indent="0">
              <a:buNone/>
            </a:pPr>
            <a:endParaRPr lang="fr-BE" sz="20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000">
                <a:latin typeface="Futura PT Medium" panose="020B0602020204020303" pitchFamily="34" charset="77"/>
              </a:rPr>
              <a:t>Выбор основывался на представительности ключевых функций и глубоком знании внутренних практик.</a:t>
            </a:r>
          </a:p>
          <a:p>
            <a:pPr marL="0" indent="0">
              <a:buNone/>
            </a:pPr>
            <a:endParaRPr lang="fr-BE" sz="20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000" u="sng">
                <a:latin typeface="Futura PT Medium" panose="020B0602020204020303" pitchFamily="34" charset="77"/>
              </a:rPr>
              <a:t>В перспективе </a:t>
            </a:r>
            <a:r>
              <a:rPr lang="ru-RU" sz="2000">
                <a:latin typeface="Futura PT Medium" panose="020B0602020204020303" pitchFamily="34" charset="77"/>
              </a:rPr>
              <a:t>прямое вовлечение обучающихся в процесс самооценки позволило бы дополнительно обогатить его.</a:t>
            </a:r>
            <a:endParaRPr lang="fr-FR" sz="2000">
              <a:latin typeface="Futura PT Medium" panose="020B0602020204020303" pitchFamily="34" charset="77"/>
            </a:endParaRPr>
          </a:p>
        </p:txBody>
      </p:sp>
      <p:pic>
        <p:nvPicPr>
          <p:cNvPr id="5" name="Graphique 4" descr="Ampoule et engrenage avec un remplissage uni">
            <a:extLst>
              <a:ext uri="{FF2B5EF4-FFF2-40B4-BE49-F238E27FC236}">
                <a16:creationId xmlns:a16="http://schemas.microsoft.com/office/drawing/2014/main" id="{D2D8F3C5-AF26-115E-95A2-3384B7C0D5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660" y="4888282"/>
            <a:ext cx="914400" cy="914400"/>
          </a:xfrm>
          <a:prstGeom prst="rect">
            <a:avLst/>
          </a:prstGeom>
        </p:spPr>
      </p:pic>
      <p:pic>
        <p:nvPicPr>
          <p:cNvPr id="9" name="Graphique 8" descr="Vieille clé avec un remplissage uni">
            <a:extLst>
              <a:ext uri="{FF2B5EF4-FFF2-40B4-BE49-F238E27FC236}">
                <a16:creationId xmlns:a16="http://schemas.microsoft.com/office/drawing/2014/main" id="{ECF8B39B-53BC-F8CE-717E-CA1DF29885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9660" y="3838945"/>
            <a:ext cx="914400" cy="914400"/>
          </a:xfrm>
          <a:prstGeom prst="rect">
            <a:avLst/>
          </a:prstGeom>
        </p:spPr>
      </p:pic>
      <p:pic>
        <p:nvPicPr>
          <p:cNvPr id="11" name="Graphique 10" descr="Utilisateurs avec un remplissage uni">
            <a:extLst>
              <a:ext uri="{FF2B5EF4-FFF2-40B4-BE49-F238E27FC236}">
                <a16:creationId xmlns:a16="http://schemas.microsoft.com/office/drawing/2014/main" id="{D7BEB4C3-1801-4E1C-305B-42A31C80FB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9660" y="2773950"/>
            <a:ext cx="914400" cy="914400"/>
          </a:xfrm>
          <a:prstGeom prst="rect">
            <a:avLst/>
          </a:prstGeom>
        </p:spPr>
      </p:pic>
      <p:pic>
        <p:nvPicPr>
          <p:cNvPr id="15" name="Graphique 14" descr="Chaise de réalisateur avec un remplissage uni">
            <a:extLst>
              <a:ext uri="{FF2B5EF4-FFF2-40B4-BE49-F238E27FC236}">
                <a16:creationId xmlns:a16="http://schemas.microsoft.com/office/drawing/2014/main" id="{37DC3653-004B-AC9F-4D38-46F2F0704C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9660" y="177511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994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24885-1CD1-B052-A5A4-B15E2EA93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A05D10-B66E-5750-04D5-381003AE8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663" y="500062"/>
            <a:ext cx="10515600" cy="1325563"/>
          </a:xfrm>
        </p:spPr>
        <p:txBody>
          <a:bodyPr>
            <a:normAutofit/>
          </a:bodyPr>
          <a:lstStyle/>
          <a:p>
            <a:r>
              <a:rPr lang="ru-RU" sz="3200" b="1"/>
              <a:t>Заинтересованные стороны, вовлечённые в самооценку</a:t>
            </a:r>
            <a:endParaRPr lang="fr-BE" sz="3200" b="1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EAECC50-5E24-D6F3-8B9E-B5B865AEEA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 vert="horz" lIns="0" tIns="0" rIns="91440" bIns="0" rtlCol="0" anchor="t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1800" b="1">
                <a:latin typeface="Futura PT Medium" panose="020B0602020204020303" pitchFamily="34" charset="77"/>
              </a:rPr>
              <a:t>Совет директоров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>
                <a:cs typeface="Futura Medium"/>
              </a:rPr>
              <a:t>Представители Le </a:t>
            </a:r>
            <a:r>
              <a:rPr lang="ru-RU" sz="1800" err="1">
                <a:cs typeface="Futura Medium"/>
              </a:rPr>
              <a:t>Forem</a:t>
            </a:r>
            <a:r>
              <a:rPr lang="ru-RU" sz="1800">
                <a:cs typeface="Futura Medium"/>
              </a:rPr>
              <a:t>, </a:t>
            </a:r>
            <a:r>
              <a:rPr lang="ru-RU" sz="1800" err="1">
                <a:cs typeface="Futura Medium"/>
              </a:rPr>
              <a:t>Proximus</a:t>
            </a:r>
            <a:r>
              <a:rPr lang="ru-RU" sz="1800">
                <a:cs typeface="Futura Medium"/>
              </a:rPr>
              <a:t> и Университета </a:t>
            </a:r>
            <a:r>
              <a:rPr lang="ru-RU" sz="1800" err="1">
                <a:cs typeface="Futura Medium"/>
              </a:rPr>
              <a:t>Намюра</a:t>
            </a:r>
            <a:endParaRPr lang="ru-RU" sz="1800">
              <a:cs typeface="Futura Medium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800" b="1">
                <a:latin typeface="Futura PT Medium" panose="020B0602020204020303" pitchFamily="34" charset="77"/>
              </a:rPr>
              <a:t>Внутренняя команда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>
                <a:cs typeface="Futura Medium"/>
              </a:rPr>
              <a:t>Все сотрудники </a:t>
            </a:r>
            <a:r>
              <a:rPr lang="fr-BE" sz="1800" err="1">
                <a:cs typeface="Futura Medium"/>
              </a:rPr>
              <a:t>Technobel</a:t>
            </a:r>
            <a:endParaRPr lang="ru-RU" sz="1800">
              <a:cs typeface="Futura Medium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800" b="1">
                <a:latin typeface="Futura PT Medium" panose="020B0602020204020303" pitchFamily="34" charset="77"/>
              </a:rPr>
              <a:t>Обучающиеся и выпускники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>
                <a:cs typeface="Futura Medium"/>
              </a:rPr>
              <a:t>Текущие обучающиеся и бывшие обучающиеся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>
                <a:latin typeface="Futura PT Medium" panose="020B0602020204020303" pitchFamily="34" charset="77"/>
              </a:rPr>
              <a:t>Работодатели и компании-партнёры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>
                <a:cs typeface="Futura Medium"/>
              </a:rPr>
              <a:t>Компании, участвующие в обучении, проектах и подборе персонала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>
                <a:latin typeface="Futura PT Medium" panose="020B0602020204020303" pitchFamily="34" charset="77"/>
              </a:rPr>
              <a:t>Внешние тренеры и эксперты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>
                <a:cs typeface="Futura Medium"/>
              </a:rPr>
              <a:t>Специалисты, привносящие профессиональные и отраслевые перспективы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>
                <a:latin typeface="Futura PT Medium" panose="020B0602020204020303" pitchFamily="34" charset="77"/>
              </a:rPr>
              <a:t>Европейские партнёры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>
                <a:cs typeface="Futura Medium"/>
              </a:rPr>
              <a:t>Партнёры, участвующие в сотрудничестве и проектах ЕС</a:t>
            </a:r>
            <a:endParaRPr lang="fr-FR" sz="1800">
              <a:latin typeface="Futura PT Medium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251302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A6A7C4E-73C1-17A1-14CF-FE62AB74A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Вызовы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ED1992F-EE20-DFD9-9E23-14A87F999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b="1">
                <a:latin typeface="Futura PT Medium" panose="020B0602020204020303" pitchFamily="34" charset="77"/>
              </a:rPr>
              <a:t>Ограниченность во времени</a:t>
            </a:r>
          </a:p>
          <a:p>
            <a:pPr marL="0" indent="0">
              <a:buNone/>
            </a:pPr>
            <a:r>
              <a:rPr lang="ru-RU" sz="2000" i="1">
                <a:latin typeface="Futura PT Medium" panose="020B0602020204020303" pitchFamily="34" charset="77"/>
              </a:rPr>
              <a:t>Совмещение процесса самооценки с текущей операционной деятельностью и учебными процессами</a:t>
            </a:r>
            <a:r>
              <a:rPr lang="fr-BE" sz="2000" i="1">
                <a:latin typeface="Futura PT Medium" panose="020B0602020204020303" pitchFamily="34" charset="77"/>
              </a:rPr>
              <a:t>.</a:t>
            </a:r>
          </a:p>
          <a:p>
            <a:pPr marL="0" indent="0">
              <a:buNone/>
            </a:pPr>
            <a:endParaRPr lang="fr-BE" sz="2000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400" b="1">
                <a:latin typeface="Futura PT Medium" panose="020B0602020204020303" pitchFamily="34" charset="77"/>
              </a:rPr>
              <a:t>Большое количество индикаторов</a:t>
            </a:r>
          </a:p>
          <a:p>
            <a:pPr marL="0" indent="0">
              <a:buNone/>
            </a:pPr>
            <a:r>
              <a:rPr lang="ru-RU" sz="2000" i="1">
                <a:latin typeface="Futura PT Medium" panose="020B0602020204020303" pitchFamily="34" charset="77"/>
              </a:rPr>
              <a:t>Работа со значительным числом индикаторов (из 577) требовала времени, координации и расстановки приоритетов</a:t>
            </a:r>
            <a:r>
              <a:rPr lang="fr-BE" sz="2000" i="1">
                <a:latin typeface="Futura PT Medium" panose="020B0602020204020303" pitchFamily="34" charset="77"/>
              </a:rPr>
              <a:t>.</a:t>
            </a:r>
          </a:p>
          <a:p>
            <a:pPr marL="0" indent="0">
              <a:buNone/>
            </a:pPr>
            <a:endParaRPr lang="fr-BE" sz="2000" i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400" b="1">
                <a:latin typeface="Futura PT Medium" panose="020B0602020204020303" pitchFamily="34" charset="77"/>
              </a:rPr>
              <a:t>Доступность заинтересованных сторон</a:t>
            </a:r>
          </a:p>
          <a:p>
            <a:pPr marL="0" indent="0">
              <a:buNone/>
            </a:pPr>
            <a:r>
              <a:rPr lang="ru-RU" sz="2000" i="1">
                <a:latin typeface="Futura PT Medium" panose="020B0602020204020303" pitchFamily="34" charset="77"/>
              </a:rPr>
              <a:t>Обеспечение участия и вовлечённости широкого круга внутренних и внешних заинтересованных сторон</a:t>
            </a:r>
            <a:r>
              <a:rPr lang="fr-BE" sz="2000" i="1">
                <a:latin typeface="Futura PT Medium" panose="020B0602020204020303" pitchFamily="34" charset="77"/>
              </a:rPr>
              <a:t>.</a:t>
            </a:r>
          </a:p>
          <a:p>
            <a:pPr marL="0" indent="0">
              <a:buNone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139131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C24835-393A-9EFD-D305-BD7358864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486" y="506828"/>
            <a:ext cx="10944225" cy="1080120"/>
          </a:xfrm>
        </p:spPr>
        <p:txBody>
          <a:bodyPr/>
          <a:lstStyle/>
          <a:p>
            <a:r>
              <a:rPr lang="ru-RU"/>
              <a:t>Лучшие практики для</a:t>
            </a:r>
            <a:r>
              <a:rPr lang="fr-FR"/>
              <a:t>Technobel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0FC8D2-499E-24AB-969D-A7F5225846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6917" y="1585232"/>
            <a:ext cx="10932794" cy="460851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ru-RU" sz="2600" b="1">
                <a:latin typeface="Futura PT Medium" panose="020B0602020204020303" pitchFamily="34" charset="77"/>
              </a:rPr>
              <a:t>Чёткая координация и распределение ответственности</a:t>
            </a:r>
          </a:p>
          <a:p>
            <a:pPr marL="0" indent="0">
              <a:buNone/>
            </a:pPr>
            <a:r>
              <a:rPr lang="ru-RU" sz="2200" i="1">
                <a:latin typeface="Futura PT Medium" panose="020B0602020204020303" pitchFamily="34" charset="77"/>
              </a:rPr>
              <a:t>Небольшая, чётко определённая координационная команда помогла структурировать и отслеживать процесс.</a:t>
            </a:r>
          </a:p>
          <a:p>
            <a:pPr marL="0" indent="0">
              <a:buNone/>
            </a:pPr>
            <a:endParaRPr lang="fr-BE" sz="2200" i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600" b="1">
                <a:latin typeface="Futura PT Medium" panose="020B0602020204020303" pitchFamily="34" charset="77"/>
              </a:rPr>
              <a:t>Постепенное и реалистичное планирование</a:t>
            </a:r>
          </a:p>
          <a:p>
            <a:pPr marL="0" indent="0">
              <a:buNone/>
            </a:pPr>
            <a:r>
              <a:rPr lang="ru-RU" sz="2200" i="1">
                <a:latin typeface="Futura PT Medium" panose="020B0602020204020303" pitchFamily="34" charset="77"/>
              </a:rPr>
              <a:t>Распределение работы во времени сделало процесс более управляемым и устойчивым.</a:t>
            </a:r>
          </a:p>
          <a:p>
            <a:pPr marL="0" indent="0">
              <a:buNone/>
            </a:pPr>
            <a:endParaRPr lang="fr-BE" sz="2200" i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600" b="1">
                <a:latin typeface="Futura PT Medium" panose="020B0602020204020303" pitchFamily="34" charset="77"/>
              </a:rPr>
              <a:t>Внутренняя коммуникация и прозрачность</a:t>
            </a:r>
          </a:p>
          <a:p>
            <a:pPr marL="0" indent="0">
              <a:buNone/>
            </a:pPr>
            <a:r>
              <a:rPr lang="ru-RU" sz="2200" i="1">
                <a:latin typeface="Futura PT Medium" panose="020B0602020204020303" pitchFamily="34" charset="77"/>
              </a:rPr>
              <a:t>Чёткое объяснение целей ISAT-</a:t>
            </a:r>
            <a:r>
              <a:rPr lang="ru-RU" sz="2200" i="1" err="1">
                <a:latin typeface="Futura PT Medium" panose="020B0602020204020303" pitchFamily="34" charset="77"/>
              </a:rPr>
              <a:t>CoVE</a:t>
            </a:r>
            <a:r>
              <a:rPr lang="ru-RU" sz="2200" i="1">
                <a:latin typeface="Futura PT Medium" panose="020B0602020204020303" pitchFamily="34" charset="77"/>
              </a:rPr>
              <a:t> повысило вовлечённость и снизило сопротивление.</a:t>
            </a:r>
          </a:p>
          <a:p>
            <a:pPr marL="0" indent="0">
              <a:buNone/>
            </a:pPr>
            <a:endParaRPr lang="fr-BE" sz="2200" i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2600" b="1">
                <a:latin typeface="Futura PT Medium" panose="020B0602020204020303" pitchFamily="34" charset="77"/>
              </a:rPr>
              <a:t>Использование ISAT-</a:t>
            </a:r>
            <a:r>
              <a:rPr lang="ru-RU" sz="2600" b="1" err="1">
                <a:latin typeface="Futura PT Medium" panose="020B0602020204020303" pitchFamily="34" charset="77"/>
              </a:rPr>
              <a:t>CoVE</a:t>
            </a:r>
            <a:r>
              <a:rPr lang="ru-RU" sz="2600" b="1">
                <a:latin typeface="Futura PT Medium" panose="020B0602020204020303" pitchFamily="34" charset="77"/>
              </a:rPr>
              <a:t> как инструмента обучения</a:t>
            </a:r>
          </a:p>
          <a:p>
            <a:pPr marL="0" indent="0">
              <a:buNone/>
            </a:pPr>
            <a:r>
              <a:rPr lang="ru-RU" sz="2200" i="1">
                <a:latin typeface="Futura PT Medium" panose="020B0602020204020303" pitchFamily="34" charset="77"/>
              </a:rPr>
              <a:t>Смещение фокуса на рефлексию и улучшение, а не на оценку результатов, помогло поддерживать мотивацию.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06715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D2620D-634C-5DA3-5582-D077B0087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5 </a:t>
            </a:r>
            <a:r>
              <a:rPr lang="ru-RU"/>
              <a:t>советов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3BE8FAF-9F47-8270-3D17-41598E646D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0285"/>
            <a:ext cx="10515600" cy="3979274"/>
          </a:xfrm>
        </p:spPr>
        <p:txBody>
          <a:bodyPr>
            <a:normAutofit fontScale="32500" lnSpcReduction="20000"/>
          </a:bodyPr>
          <a:lstStyle/>
          <a:p>
            <a:pPr marL="0" indent="0">
              <a:buNone/>
            </a:pPr>
            <a:r>
              <a:rPr lang="ru-RU" sz="4000" b="1">
                <a:latin typeface="Futura PT Medium" panose="020B0602020204020303" pitchFamily="34" charset="77"/>
              </a:rPr>
              <a:t>Сформируйте представительную команду самооценки</a:t>
            </a:r>
          </a:p>
          <a:p>
            <a:pPr marL="0" indent="0">
              <a:buNone/>
            </a:pPr>
            <a:r>
              <a:rPr lang="ru-RU" sz="4000" i="1">
                <a:latin typeface="Futura PT Medium" panose="020B0602020204020303" pitchFamily="34" charset="77"/>
              </a:rPr>
              <a:t>Включайте не только руководство и сотрудников, но и обучающихся, чьи точки зрения значительно обогащают анализ.</a:t>
            </a:r>
          </a:p>
          <a:p>
            <a:pPr marL="0" indent="0">
              <a:buNone/>
            </a:pPr>
            <a:endParaRPr lang="fr-BE" sz="4000" b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4000" b="1">
                <a:latin typeface="Futura PT Medium" panose="020B0602020204020303" pitchFamily="34" charset="77"/>
              </a:rPr>
              <a:t>Обеспечьте достаточное время с самого начала</a:t>
            </a:r>
          </a:p>
          <a:p>
            <a:pPr marL="0" indent="0">
              <a:buNone/>
            </a:pPr>
            <a:r>
              <a:rPr lang="ru-RU" sz="4000" i="1">
                <a:latin typeface="Futura PT Medium" panose="020B0602020204020303" pitchFamily="34" charset="77"/>
              </a:rPr>
              <a:t>Планируйте реалистичные сроки и заранее выделяйте время для координации, рефлексии и последующих действий.</a:t>
            </a:r>
          </a:p>
          <a:p>
            <a:pPr marL="0" indent="0">
              <a:buNone/>
            </a:pPr>
            <a:endParaRPr lang="ru-RU" sz="4000" i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4000" b="1">
                <a:latin typeface="Futura PT Medium" panose="020B0602020204020303" pitchFamily="34" charset="77"/>
              </a:rPr>
              <a:t>Выделите достаточно времени на заполнение показателей</a:t>
            </a:r>
          </a:p>
          <a:p>
            <a:pPr marL="0" indent="0">
              <a:buNone/>
            </a:pPr>
            <a:r>
              <a:rPr lang="ru-RU" sz="4000" i="1">
                <a:latin typeface="Futura PT Medium" panose="020B0602020204020303" pitchFamily="34" charset="77"/>
              </a:rPr>
              <a:t>Качественные ответы требуют времени для обсуждений, сбора доказательств и формирования общего понимания.</a:t>
            </a:r>
          </a:p>
          <a:p>
            <a:pPr marL="0" indent="0">
              <a:buNone/>
            </a:pPr>
            <a:endParaRPr lang="fr-BE" sz="4000" i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4000" b="1">
                <a:latin typeface="Futura PT Medium" panose="020B0602020204020303" pitchFamily="34" charset="77"/>
              </a:rPr>
              <a:t>Рано вовлекайте всю команду</a:t>
            </a:r>
          </a:p>
          <a:p>
            <a:pPr marL="0" indent="0">
              <a:buNone/>
            </a:pPr>
            <a:r>
              <a:rPr lang="ru-RU" sz="4000" i="1">
                <a:latin typeface="Futura PT Medium" panose="020B0602020204020303" pitchFamily="34" charset="77"/>
              </a:rPr>
              <a:t>Привлекайте всех сотрудников и обеспечьте чёткое понимание того, «зачем» нужен процесс ISAT-</a:t>
            </a:r>
            <a:r>
              <a:rPr lang="ru-RU" sz="4000" i="1" err="1">
                <a:latin typeface="Futura PT Medium" panose="020B0602020204020303" pitchFamily="34" charset="77"/>
              </a:rPr>
              <a:t>CoVE</a:t>
            </a:r>
            <a:r>
              <a:rPr lang="ru-RU" sz="4000" i="1">
                <a:latin typeface="Futura PT Medium" panose="020B0602020204020303" pitchFamily="34" charset="77"/>
              </a:rPr>
              <a:t>.</a:t>
            </a:r>
          </a:p>
          <a:p>
            <a:pPr marL="0" indent="0">
              <a:buNone/>
            </a:pPr>
            <a:endParaRPr lang="ru-RU" sz="4000" b="1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 sz="4000" b="1">
                <a:latin typeface="Futura PT Medium" panose="020B0602020204020303" pitchFamily="34" charset="77"/>
              </a:rPr>
              <a:t>Используйте ISAT-</a:t>
            </a:r>
            <a:r>
              <a:rPr lang="ru-RU" sz="4000" b="1" err="1">
                <a:latin typeface="Futura PT Medium" panose="020B0602020204020303" pitchFamily="34" charset="77"/>
              </a:rPr>
              <a:t>CoVE</a:t>
            </a:r>
            <a:r>
              <a:rPr lang="ru-RU" sz="4000" b="1">
                <a:latin typeface="Futura PT Medium" panose="020B0602020204020303" pitchFamily="34" charset="77"/>
              </a:rPr>
              <a:t> как инструмент обучения, а не контроля</a:t>
            </a:r>
          </a:p>
          <a:p>
            <a:pPr marL="0" indent="0">
              <a:buNone/>
            </a:pPr>
            <a:r>
              <a:rPr lang="ru-RU" sz="4000" i="1">
                <a:latin typeface="Futura PT Medium" panose="020B0602020204020303" pitchFamily="34" charset="77"/>
              </a:rPr>
              <a:t>Сосредотачивайтесь на рефлексии, диалоге и улучшениях, чтобы сохранять мотивацию и чувство ответственности</a:t>
            </a:r>
            <a:r>
              <a:rPr lang="ru-RU" sz="2000" i="1">
                <a:latin typeface="Futura PT Medium" panose="020B0602020204020303" pitchFamily="34" charset="77"/>
              </a:rPr>
              <a:t>.</a:t>
            </a:r>
            <a:endParaRPr lang="fr-FR" sz="2000"/>
          </a:p>
        </p:txBody>
      </p:sp>
    </p:spTree>
    <p:extLst>
      <p:ext uri="{BB962C8B-B14F-4D97-AF65-F5344CB8AC3E}">
        <p14:creationId xmlns:p14="http://schemas.microsoft.com/office/powerpoint/2010/main" val="88229096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106DC2-82A6-C687-3E73-35FE332032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Slide Number Placeholder 1">
            <a:extLst>
              <a:ext uri="{FF2B5EF4-FFF2-40B4-BE49-F238E27FC236}">
                <a16:creationId xmlns:a16="http://schemas.microsoft.com/office/drawing/2014/main" id="{D23D73F9-3940-6D08-24E9-27E344D875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69</a:t>
            </a:fld>
            <a:endParaRPr lang="en-US"/>
          </a:p>
        </p:txBody>
      </p:sp>
      <p:sp>
        <p:nvSpPr>
          <p:cNvPr id="1044" name="Slide Number Placeholder 1">
            <a:extLst>
              <a:ext uri="{FF2B5EF4-FFF2-40B4-BE49-F238E27FC236}">
                <a16:creationId xmlns:a16="http://schemas.microsoft.com/office/drawing/2014/main" id="{284BB562-8303-3C61-5545-9BBEA02CC4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69</a:t>
            </a:fld>
            <a:endParaRPr lang="en-US"/>
          </a:p>
        </p:txBody>
      </p:sp>
      <p:pic>
        <p:nvPicPr>
          <p:cNvPr id="1032" name="Picture 8" descr="Page 2 | People Images - Free Download on Freepik">
            <a:extLst>
              <a:ext uri="{FF2B5EF4-FFF2-40B4-BE49-F238E27FC236}">
                <a16:creationId xmlns:a16="http://schemas.microsoft.com/office/drawing/2014/main" id="{18CC38A2-6027-2804-C3DE-1325C3094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0" r="3022" b="-1"/>
          <a:stretch>
            <a:fillRect/>
          </a:stretch>
        </p:blipFill>
        <p:spPr bwMode="auto">
          <a:xfrm>
            <a:off x="20" y="-13402"/>
            <a:ext cx="904830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7F0E08F-CF36-F19B-12BC-6A132B8A7C3B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761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75E70D-BE4F-DD03-CDD6-680D47155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2EE410-6C9B-B95C-0007-F6C0F511F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Placeholder 13" descr="A close up of a person's face&#10;&#10;Description automatically generated">
            <a:extLst>
              <a:ext uri="{FF2B5EF4-FFF2-40B4-BE49-F238E27FC236}">
                <a16:creationId xmlns:a16="http://schemas.microsoft.com/office/drawing/2014/main" id="{C43AEB9D-4E90-6081-0460-51FFD96E91F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32" b="22832"/>
          <a:stretch>
            <a:fillRect/>
          </a:stretch>
        </p:blipFill>
        <p:spPr/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BA6742C-8E44-F4C0-57DB-5927F67507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05C9AC-3BAF-A3E0-B8E5-B240772280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4F1924-1AE4-8640-E8A4-C54FCAD2F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DD0661-1F2A-4CB5-C98A-C0B3E78762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BE"/>
          </a:p>
        </p:txBody>
      </p:sp>
      <p:pic>
        <p:nvPicPr>
          <p:cNvPr id="12" name="Content Placeholder 11" descr="A map of the world with points&#10;&#10;Description automatically generated">
            <a:extLst>
              <a:ext uri="{FF2B5EF4-FFF2-40B4-BE49-F238E27FC236}">
                <a16:creationId xmlns:a16="http://schemas.microsoft.com/office/drawing/2014/main" id="{FE91439D-4B96-5EC4-08AD-7E213341AF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38" y="1540357"/>
            <a:ext cx="8625840" cy="4480560"/>
          </a:xfr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316F1A68-7E9E-3D00-22C2-9B6DABE5C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Партнёрства ЦПМ за пределами Европы</a:t>
            </a:r>
            <a:endParaRPr lang="en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A0A6C6-EFDB-20BF-A630-A7A52AADAF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096" y="1540354"/>
            <a:ext cx="1303385" cy="162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065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50D4EB-507E-5B7C-DDE4-6C5C8C7D6E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B7F0368-91B8-7DC0-E657-9240951AA51E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71A5B4-4501-3D3E-F8EA-5E6B858CFB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70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CE783D9-F05E-EC78-C6E8-0602779F9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56" y="1172217"/>
            <a:ext cx="10955656" cy="4735389"/>
          </a:xfrm>
        </p:spPr>
        <p:txBody>
          <a:bodyPr>
            <a:normAutofit fontScale="92500" lnSpcReduction="20000"/>
          </a:bodyPr>
          <a:lstStyle/>
          <a:p>
            <a:r>
              <a:rPr lang="ru-RU"/>
              <a:t>1. Обсуждение в малых группах</a:t>
            </a:r>
          </a:p>
          <a:p>
            <a:r>
              <a:rPr lang="ru-RU"/>
              <a:t>Команда по самооценке (КС</a:t>
            </a:r>
            <a:r>
              <a:rPr lang="en-GB"/>
              <a:t>)</a:t>
            </a:r>
            <a:endParaRPr lang="ru-RU"/>
          </a:p>
          <a:p>
            <a:r>
              <a:rPr lang="ru-RU" b="0"/>
              <a:t>Ознакомьтесь с ролью и рекомендуемым составом команды по самооценке (КС), учитывая специфику вашего центра. </a:t>
            </a:r>
            <a:endParaRPr lang="en-GB" b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0"/>
              <a:t>Кого следует включить в состав SAT в вашем центре?</a:t>
            </a:r>
            <a:endParaRPr lang="en-GB" b="0"/>
          </a:p>
          <a:p>
            <a:endParaRPr lang="en-GB" b="0"/>
          </a:p>
          <a:p>
            <a:r>
              <a:rPr lang="en-GB"/>
              <a:t>2. </a:t>
            </a:r>
            <a:r>
              <a:rPr lang="ru-RU"/>
              <a:t>Вовлечение заинтересованных сторон</a:t>
            </a:r>
            <a:endParaRPr lang="en-GB"/>
          </a:p>
          <a:p>
            <a:r>
              <a:rPr lang="ru-RU" b="0"/>
              <a:t>Ознакомьтесь со списком заинтересованных сторон, которые могут быть вовлечены в процесс самооценки с использованием ISATCOVE</a:t>
            </a:r>
            <a:r>
              <a:rPr lang="en-GB" b="0"/>
              <a:t>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0"/>
              <a:t>Какие заинтересованные стороны являются наиболее важными для вашего центра? От каких заинтересованных сторон вы хотели бы получить обратную связь в рамках самооценки? С какими трудностями вы можете столкнуться при их вовлечении?</a:t>
            </a:r>
            <a:r>
              <a:rPr lang="en-GB" b="0"/>
              <a:t> </a:t>
            </a:r>
            <a:endParaRPr lang="ru-RU" b="0"/>
          </a:p>
          <a:p>
            <a:endParaRPr lang="en-GB"/>
          </a:p>
          <a:p>
            <a:pPr lvl="2" indent="0">
              <a:buNone/>
            </a:pPr>
            <a:r>
              <a:rPr lang="ru-RU" b="1"/>
              <a:t>Общее обсуждение (пленарная сессия)</a:t>
            </a:r>
            <a:r>
              <a:rPr lang="en-GB" b="1"/>
              <a:t>: </a:t>
            </a:r>
          </a:p>
          <a:p>
            <a:pPr marL="519113" lvl="2" indent="-342900">
              <a:buAutoNum type="arabicPeriod"/>
            </a:pPr>
            <a:r>
              <a:rPr lang="ru-RU"/>
              <a:t>Две группы представят состав своей команды по самооценке (КС). Остальные группы прокомментируют или зададут вопросы</a:t>
            </a:r>
            <a:r>
              <a:rPr lang="en-GB"/>
              <a:t>.</a:t>
            </a:r>
          </a:p>
          <a:p>
            <a:pPr marL="519113" lvl="2" indent="-342900">
              <a:buAutoNum type="arabicPeriod"/>
            </a:pPr>
            <a:r>
              <a:rPr lang="ru-RU"/>
              <a:t>Две группы представят выбранные ими группы заинтересованных сторон. Остальные группы прокомментируют или зададут вопросы</a:t>
            </a:r>
            <a:r>
              <a:rPr lang="en-GB"/>
              <a:t>.</a:t>
            </a:r>
          </a:p>
          <a:p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554EDF3-F7DA-9BFA-A9FF-08A7AA0D9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133216"/>
          </a:xfrm>
        </p:spPr>
        <p:txBody>
          <a:bodyPr>
            <a:normAutofit fontScale="90000"/>
          </a:bodyPr>
          <a:lstStyle/>
          <a:p>
            <a:r>
              <a:rPr lang="ru-RU" sz="2400">
                <a:solidFill>
                  <a:schemeClr val="accent2"/>
                </a:solidFill>
              </a:rPr>
              <a:t>Упражнение 1: </a:t>
            </a:r>
            <a:br>
              <a:rPr lang="ru-RU" sz="2400">
                <a:solidFill>
                  <a:schemeClr val="accent2"/>
                </a:solidFill>
              </a:rPr>
            </a:br>
            <a:r>
              <a:rPr lang="ru-RU" sz="2400"/>
              <a:t>Внедрение ISATCOVE — участники (акторы)</a:t>
            </a:r>
            <a:br>
              <a:rPr lang="en-GB"/>
            </a:br>
            <a:endParaRPr lang="en-GB"/>
          </a:p>
        </p:txBody>
      </p:sp>
      <p:sp>
        <p:nvSpPr>
          <p:cNvPr id="2" name="Content Placeholder 48">
            <a:extLst>
              <a:ext uri="{FF2B5EF4-FFF2-40B4-BE49-F238E27FC236}">
                <a16:creationId xmlns:a16="http://schemas.microsoft.com/office/drawing/2014/main" id="{82331136-E52A-8336-9BAB-309E2A9DD35D}"/>
              </a:ext>
            </a:extLst>
          </p:cNvPr>
          <p:cNvSpPr txBox="1">
            <a:spLocks/>
          </p:cNvSpPr>
          <p:nvPr/>
        </p:nvSpPr>
        <p:spPr>
          <a:xfrm>
            <a:off x="623888" y="5947457"/>
            <a:ext cx="10363902" cy="711245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762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52438" indent="-1873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7550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ru-RU">
              <a:solidFill>
                <a:schemeClr val="accent6">
                  <a:lumMod val="75000"/>
                </a:schemeClr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lvl="0"/>
            <a:r>
              <a:rPr lang="ru-RU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lang="en-GB" b="0" i="1">
              <a:solidFill>
                <a:schemeClr val="accent6">
                  <a:lumMod val="7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9799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" grpId="0" uiExpand="1" build="p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80BE1-B7A2-7F4F-0956-367DD704C6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6531BB9-DCAB-E5DD-A8CA-795EE624C4B3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AE9D5386-6FC2-4B30-8AED-9824CB47C7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5E5D6E7C-542E-7865-84E3-41390D94FD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B634542-E26E-F43B-438B-657BA71CAA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8A7FA2-2503-1C8E-CFDF-69FE09EA76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EC8A7E-6DFE-319F-3848-73CD65977F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6E28042E-0BF4-C4CE-4B03-17F6764AC7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04031CC3-D3CA-82E5-61C9-3B7805B6BB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086F9F2D-C069-689B-69B2-32CB66C39F0E}"/>
              </a:ext>
            </a:extLst>
          </p:cNvPr>
          <p:cNvSpPr txBox="1"/>
          <p:nvPr/>
        </p:nvSpPr>
        <p:spPr>
          <a:xfrm>
            <a:off x="176045" y="2020180"/>
            <a:ext cx="7361854" cy="406168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en-US" sz="3600" b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30 – 16:00</a:t>
            </a:r>
            <a:endParaRPr lang="ru-RU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</a:t>
            </a:r>
            <a:r>
              <a:rPr lang="ru-RU" sz="3600" b="1" kern="10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/>
              </a:rPr>
              <a:t>break</a:t>
            </a:r>
            <a:endParaRPr lang="ru-RU" sz="3600" b="1" kern="10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/>
              </a:rPr>
              <a:t>15:30 – 16:00</a:t>
            </a:r>
          </a:p>
          <a:p>
            <a:endParaRPr lang="en-US" sz="3200" b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7032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4D0AEE-A746-B9F7-4C3D-B693BAC2A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F5C659D-18AA-C549-B004-4FA1F58853E4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4025ED4-B56C-ECE9-005B-8C41BC6E5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3DED080D-29EA-2200-28FB-64E44D771A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A5139ED-BD07-6DF2-CC9F-3034BEFAA9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03EBFF-AFEA-FED3-FF0A-D7B65FFF85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8F644D-C7E9-104C-66F0-597BC10DD1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C6C905A8-CDD2-8A64-57F8-E8CA4F7579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EA3D401E-73D5-9F3E-A4CF-FC19DFC962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09F1134D-0DAE-1A60-81D4-3D8704151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139" y="1168065"/>
            <a:ext cx="6696744" cy="3407803"/>
          </a:xfrm>
        </p:spPr>
        <p:txBody>
          <a:bodyPr>
            <a:noAutofit/>
          </a:bodyPr>
          <a:lstStyle/>
          <a:p>
            <a:pPr algn="ctr"/>
            <a:br>
              <a:rPr lang="en-GB" sz="3600"/>
            </a:br>
            <a:endParaRPr lang="en-GB" sz="4000">
              <a:solidFill>
                <a:schemeClr val="accent2"/>
              </a:solidFill>
            </a:endParaRP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2098BDB0-9F4E-4F20-063C-ABA49E009780}"/>
              </a:ext>
            </a:extLst>
          </p:cNvPr>
          <p:cNvSpPr txBox="1">
            <a:spLocks/>
          </p:cNvSpPr>
          <p:nvPr/>
        </p:nvSpPr>
        <p:spPr>
          <a:xfrm>
            <a:off x="1234445" y="1545062"/>
            <a:ext cx="5892296" cy="18785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3600" b="1">
                <a:cs typeface="Arial"/>
              </a:rPr>
              <a:t>Движение</a:t>
            </a:r>
            <a:r>
              <a:rPr lang="en-GB" sz="3600" b="1">
                <a:cs typeface="Arial"/>
              </a:rPr>
              <a:t> </a:t>
            </a:r>
            <a:r>
              <a:rPr lang="ru-RU" sz="3600" b="1">
                <a:cs typeface="Arial"/>
              </a:rPr>
              <a:t>к профессиональному мастерству в ПОО</a:t>
            </a:r>
            <a:endParaRPr lang="en-GB" sz="3600" b="1"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50C635-79C4-1DCC-D5D4-D60AA003247B}"/>
              </a:ext>
            </a:extLst>
          </p:cNvPr>
          <p:cNvSpPr txBox="1"/>
          <p:nvPr/>
        </p:nvSpPr>
        <p:spPr>
          <a:xfrm>
            <a:off x="1230086" y="4180114"/>
            <a:ext cx="6096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600" b="1" baseline="0">
                <a:latin typeface="Arial"/>
                <a:ea typeface="Segoe UI"/>
                <a:cs typeface="Segoe UI"/>
              </a:rPr>
              <a:t>Improving towards TVET Excellence</a:t>
            </a:r>
            <a:endParaRPr lang="en-GB" sz="3600">
              <a:cs typeface="Arial" panose="020B0604020202020204"/>
            </a:endParaRPr>
          </a:p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7713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2B246-D49B-4481-13C8-43A8B83D49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603AD1CB-480F-AA31-7750-4ACDD5934C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C6E0EE4-4625-DCDA-5E9C-BF525B46A92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DE3E366-B83D-BDAE-7D0F-C24E6ABC5A3C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9BAE820-53EB-9A16-CE01-5553D3B7CFB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CEAF49F-600F-B404-D2DD-F46E7CFFDCE3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Мониторинг и развитие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1889013-AB90-4361-51B4-0B86EFF833B2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03AF52E5-21CE-E402-7B7B-C51B726E91D5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EC3059F-B989-8A26-49C1-280386585D19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bg1"/>
                  </a:solidFill>
                </a:rPr>
                <a:t>ЭТАП</a:t>
              </a:r>
              <a:r>
                <a:rPr lang="en-GB" sz="2000" i="1">
                  <a:solidFill>
                    <a:schemeClr val="bg1"/>
                  </a:solidFill>
                </a:rPr>
                <a:t> 3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7B6B8FA-11AA-39AB-1322-397CBDFD7E32}"/>
              </a:ext>
            </a:extLst>
          </p:cNvPr>
          <p:cNvSpPr txBox="1"/>
          <p:nvPr/>
        </p:nvSpPr>
        <p:spPr>
          <a:xfrm>
            <a:off x="9694120" y="4467992"/>
            <a:ext cx="2592169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200" b="1">
                <a:solidFill>
                  <a:schemeClr val="bg1"/>
                </a:solidFill>
                <a:ea typeface="+mn-lt"/>
                <a:cs typeface="Arial" panose="020B0604020202020204" pitchFamily="34" charset="0"/>
              </a:rPr>
              <a:t>Performance in VET Excellen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EE6A43-1F77-D378-03B0-CD3B29E88098}"/>
              </a:ext>
            </a:extLst>
          </p:cNvPr>
          <p:cNvGrpSpPr/>
          <p:nvPr/>
        </p:nvGrpSpPr>
        <p:grpSpPr>
          <a:xfrm>
            <a:off x="2581081" y="1797784"/>
            <a:ext cx="8051423" cy="3535042"/>
            <a:chOff x="3994923" y="1778040"/>
            <a:chExt cx="8051423" cy="3535042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AB1ACE7-2EFE-52DC-C629-B9A20C3D3158}"/>
                </a:ext>
              </a:extLst>
            </p:cNvPr>
            <p:cNvSpPr txBox="1"/>
            <p:nvPr/>
          </p:nvSpPr>
          <p:spPr>
            <a:xfrm>
              <a:off x="5470875" y="1778040"/>
              <a:ext cx="6575471" cy="16312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Определение целей развития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Планирование действий по развитию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Обмен лучшими практиками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Мониторинг прогресса</a:t>
              </a:r>
              <a:endParaRPr lang="en-GB" sz="2000"/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endParaRPr lang="en-GB" sz="20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89052F6-C04C-A2BB-2269-B06CCE3BC2DF}"/>
                </a:ext>
              </a:extLst>
            </p:cNvPr>
            <p:cNvSpPr txBox="1"/>
            <p:nvPr/>
          </p:nvSpPr>
          <p:spPr>
            <a:xfrm>
              <a:off x="4092550" y="1892815"/>
              <a:ext cx="1116000" cy="40011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Ч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433208D-D044-080D-3FB5-CA51AAC648B0}"/>
                </a:ext>
              </a:extLst>
            </p:cNvPr>
            <p:cNvSpPr txBox="1"/>
            <p:nvPr/>
          </p:nvSpPr>
          <p:spPr>
            <a:xfrm>
              <a:off x="4031618" y="4317254"/>
              <a:ext cx="1116000" cy="40011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АК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F6E0D3F-2ED3-DC81-9952-C80CF17084F2}"/>
                </a:ext>
              </a:extLst>
            </p:cNvPr>
            <p:cNvSpPr txBox="1"/>
            <p:nvPr/>
          </p:nvSpPr>
          <p:spPr>
            <a:xfrm>
              <a:off x="4059308" y="3445059"/>
              <a:ext cx="1116000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 b="1">
                  <a:solidFill>
                    <a:schemeClr val="bg1"/>
                  </a:solidFill>
                </a:rPr>
                <a:t>КТО</a:t>
              </a:r>
              <a:endParaRPr lang="en-GB" sz="2000" b="1">
                <a:solidFill>
                  <a:schemeClr val="bg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EF066BD-CE06-99D3-93B8-D6BCEFACD2D6}"/>
                </a:ext>
              </a:extLst>
            </p:cNvPr>
            <p:cNvSpPr txBox="1"/>
            <p:nvPr/>
          </p:nvSpPr>
          <p:spPr>
            <a:xfrm>
              <a:off x="5373248" y="3445059"/>
              <a:ext cx="540791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Команда по самооценке (КС)</a:t>
              </a:r>
              <a:endParaRPr lang="en-US" sz="200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68BDF41-8091-FDC8-D6DC-DC4DCC8F409F}"/>
                </a:ext>
              </a:extLst>
            </p:cNvPr>
            <p:cNvSpPr txBox="1"/>
            <p:nvPr/>
          </p:nvSpPr>
          <p:spPr>
            <a:xfrm>
              <a:off x="3994923" y="4912972"/>
              <a:ext cx="740405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ru-RU" sz="2000"/>
                <a:t>Коллективное обсуждение</a:t>
              </a:r>
              <a:endParaRPr lang="en-US" sz="2000"/>
            </a:p>
          </p:txBody>
        </p:sp>
      </p:grpSp>
    </p:spTree>
    <p:extLst>
      <p:ext uri="{BB962C8B-B14F-4D97-AF65-F5344CB8AC3E}">
        <p14:creationId xmlns:p14="http://schemas.microsoft.com/office/powerpoint/2010/main" val="33958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39FA6-D3E0-6B63-BCC5-3B07BA3E5D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13C4DE1C-69DD-0CC7-B32A-4125A80FB3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A34E941-1632-4D66-61A9-5C52E0377DB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27D752B-8BF9-5010-2467-304F0552F339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F773F73-A383-9D0C-70DD-C30771327A1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D53F76-728C-8462-65AC-E455544281CF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Мониторинг  и развитие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20FB530-9630-F0F7-B10A-D9CCF07E1106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82ABB353-7C1C-79E9-BCA5-BDE81788B7DC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F3C77D8-9AF9-305E-B72A-FE7891236D7E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bg1"/>
                  </a:solidFill>
                </a:rPr>
                <a:t>ЭТАП</a:t>
              </a:r>
              <a:r>
                <a:rPr lang="en-GB" sz="2000" i="1">
                  <a:solidFill>
                    <a:schemeClr val="bg1"/>
                  </a:solidFill>
                </a:rPr>
                <a:t> 3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5F5249F-1951-3F06-76B6-CF20A7A26303}"/>
              </a:ext>
            </a:extLst>
          </p:cNvPr>
          <p:cNvSpPr txBox="1"/>
          <p:nvPr/>
        </p:nvSpPr>
        <p:spPr>
          <a:xfrm>
            <a:off x="3531472" y="1148469"/>
            <a:ext cx="4241662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800" b="1">
                <a:solidFill>
                  <a:schemeClr val="accent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План развития</a:t>
            </a:r>
            <a:endParaRPr lang="fr" sz="28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054173-0AE2-E1A5-F814-30007D0EB01D}"/>
              </a:ext>
            </a:extLst>
          </p:cNvPr>
          <p:cNvGrpSpPr/>
          <p:nvPr/>
        </p:nvGrpSpPr>
        <p:grpSpPr>
          <a:xfrm>
            <a:off x="830709" y="1744601"/>
            <a:ext cx="10159495" cy="4110869"/>
            <a:chOff x="360408" y="2089749"/>
            <a:chExt cx="10159495" cy="4110869"/>
          </a:xfrm>
        </p:grpSpPr>
        <p:sp>
          <p:nvSpPr>
            <p:cNvPr id="7" name="TekstniOkvir 6">
              <a:extLst>
                <a:ext uri="{FF2B5EF4-FFF2-40B4-BE49-F238E27FC236}">
                  <a16:creationId xmlns:a16="http://schemas.microsoft.com/office/drawing/2014/main" id="{5365EC0A-2B49-DDFB-B97B-2BAFC64E3BA0}"/>
                </a:ext>
              </a:extLst>
            </p:cNvPr>
            <p:cNvSpPr txBox="1"/>
            <p:nvPr/>
          </p:nvSpPr>
          <p:spPr>
            <a:xfrm>
              <a:off x="360408" y="2089749"/>
              <a:ext cx="10159495" cy="41108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90170" marR="92710">
                <a:lnSpc>
                  <a:spcPct val="107000"/>
                </a:lnSpc>
                <a:spcAft>
                  <a:spcPts val="800"/>
                </a:spcAft>
                <a:tabLst>
                  <a:tab pos="5850890" algn="l"/>
                </a:tabLst>
              </a:pPr>
              <a:r>
                <a:rPr lang="ru-RU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План развития профессионального мастерства включает в себя важную информацию о том, как ваш центр профессионального образования и обучения  будет </a:t>
              </a:r>
              <a:r>
                <a:rPr lang="ru-RU">
                  <a:solidFill>
                    <a:schemeClr val="accent2">
                      <a:lumMod val="7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проектировать, внедрять, управлять и оценивать </a:t>
              </a:r>
              <a:r>
                <a:rPr lang="ru-RU"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уровень профессионального мастерства</a:t>
              </a:r>
              <a:r>
                <a:rPr lang="en-GB" sz="2000">
                  <a:solidFill>
                    <a:schemeClr val="accent2">
                      <a:lumMod val="7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n-US" sz="2000">
                <a:solidFill>
                  <a:schemeClr val="accent2">
                    <a:lumMod val="75000"/>
                  </a:schemeClr>
                </a:solidFill>
                <a:effectLst/>
                <a:latin typeface="Aptos" panose="020B0004020202020204" pitchFamily="34" charset="0"/>
                <a:ea typeface="Arial" panose="020B0604020202020204" pitchFamily="34" charset="0"/>
                <a:cs typeface="Times New Roman" panose="02020603050405020304" pitchFamily="18" charset="0"/>
              </a:endParaRPr>
            </a:p>
            <a:p>
              <a:pPr marL="90170" marR="92710">
                <a:lnSpc>
                  <a:spcPct val="107000"/>
                </a:lnSpc>
                <a:spcAft>
                  <a:spcPts val="800"/>
                </a:spcAft>
                <a:tabLst>
                  <a:tab pos="5850890" algn="l"/>
                </a:tabLst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Он включает</a:t>
              </a:r>
              <a:r>
                <a:rPr lang="hr-HR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375920" marR="92710" indent="-285750">
                <a:lnSpc>
                  <a:spcPct val="107000"/>
                </a:lnSpc>
                <a:spcAft>
                  <a:spcPts val="800"/>
                </a:spcAft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  <a:tabLst>
                  <a:tab pos="5850890" algn="l"/>
                </a:tabLst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Направление</a:t>
              </a:r>
              <a:r>
                <a:rPr lang="en-GB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hr-HR" sz="20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ptos" panose="020B00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marL="375920" marR="92710" indent="-285750">
                <a:lnSpc>
                  <a:spcPct val="107000"/>
                </a:lnSpc>
                <a:spcAft>
                  <a:spcPts val="800"/>
                </a:spcAft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  <a:tabLst>
                  <a:tab pos="5850890" algn="l"/>
                </a:tabLst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Сроки</a:t>
              </a:r>
              <a:r>
                <a:rPr lang="en-GB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hr-HR" sz="20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ptos" panose="020B00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marL="375920" marR="92710" indent="-285750">
                <a:lnSpc>
                  <a:spcPct val="107000"/>
                </a:lnSpc>
                <a:spcAft>
                  <a:spcPts val="800"/>
                </a:spcAft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  <a:tabLst>
                  <a:tab pos="5850890" algn="l"/>
                </a:tabLst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Мероприятия</a:t>
              </a:r>
              <a:endParaRPr lang="hr-HR" sz="20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ptos" panose="020B00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marL="375920" marR="92710" indent="-285750">
                <a:lnSpc>
                  <a:spcPct val="107000"/>
                </a:lnSpc>
                <a:spcAft>
                  <a:spcPts val="800"/>
                </a:spcAft>
                <a:buClr>
                  <a:schemeClr val="accent2">
                    <a:lumMod val="75000"/>
                  </a:schemeClr>
                </a:buClr>
                <a:buFont typeface="Wingdings" panose="05000000000000000000" pitchFamily="2" charset="2"/>
                <a:buChar char="§"/>
                <a:tabLst>
                  <a:tab pos="5850890" algn="l"/>
                </a:tabLst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Ресурсы</a:t>
              </a:r>
              <a:r>
                <a:rPr lang="en-GB" sz="200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hr-HR" sz="20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ptos" panose="020B00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marL="375920" marR="9271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5850890" algn="l"/>
                </a:tabLst>
              </a:pPr>
              <a:endParaRPr lang="hr-HR" sz="2000" b="1">
                <a:latin typeface="Aptos" panose="020B00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marL="180340" indent="-180340">
                <a:lnSpc>
                  <a:spcPct val="115000"/>
                </a:lnSpc>
                <a:spcAft>
                  <a:spcPts val="600"/>
                </a:spcAft>
              </a:pPr>
              <a:r>
                <a:rPr lang="en-GB" sz="2000" b="1">
                  <a:solidFill>
                    <a:srgbClr val="12151B"/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Times New Roman" panose="02020603050405020304" pitchFamily="18" charset="0"/>
                </a:rPr>
                <a:t> </a:t>
              </a:r>
              <a:endParaRPr lang="en-US" sz="2000" b="1">
                <a:solidFill>
                  <a:srgbClr val="455560"/>
                </a:solidFill>
                <a:effectLst/>
                <a:latin typeface="Aptos" panose="020B0004020202020204" pitchFamily="34" charset="0"/>
                <a:ea typeface="Arial" panose="020B060402020202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B3A0F09-B23D-42C1-0B1B-5F68513E2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24420" y="3082952"/>
              <a:ext cx="4836916" cy="2272903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D0E6EF-9B57-86E9-31A8-F6CAB1D4D94E}"/>
              </a:ext>
            </a:extLst>
          </p:cNvPr>
          <p:cNvGrpSpPr/>
          <p:nvPr/>
        </p:nvGrpSpPr>
        <p:grpSpPr>
          <a:xfrm>
            <a:off x="7831637" y="2340431"/>
            <a:ext cx="4122194" cy="3539430"/>
            <a:chOff x="8234088" y="2566176"/>
            <a:chExt cx="3766568" cy="353943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B1FDC36-4E3F-E144-43AE-91B7736DD68D}"/>
                </a:ext>
              </a:extLst>
            </p:cNvPr>
            <p:cNvSpPr txBox="1"/>
            <p:nvPr/>
          </p:nvSpPr>
          <p:spPr>
            <a:xfrm>
              <a:off x="8234088" y="2566176"/>
              <a:ext cx="3766568" cy="35394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cs typeface="Arial" panose="020B0604020202020204" pitchFamily="34" charset="0"/>
                </a:rPr>
                <a:t>Стратегические цели</a:t>
              </a:r>
              <a:endParaRPr lang="en-GB" sz="20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 panose="020B0604020202020204" pitchFamily="34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GB" sz="1600" i="1">
                  <a:solidFill>
                    <a:schemeClr val="bg1">
                      <a:lumMod val="65000"/>
                    </a:schemeClr>
                  </a:solidFill>
                  <a:latin typeface="Aptos" panose="020B0004020202020204" pitchFamily="34" charset="0"/>
                </a:rPr>
                <a:t>(</a:t>
              </a:r>
              <a:r>
                <a:rPr lang="ru-RU" sz="1600" i="1">
                  <a:solidFill>
                    <a:schemeClr val="bg1">
                      <a:lumMod val="65000"/>
                    </a:schemeClr>
                  </a:solidFill>
                  <a:latin typeface="Aptos" panose="020B0004020202020204" pitchFamily="34" charset="0"/>
                </a:rPr>
                <a:t>Инвестирование в современную инфраструктуру, соответствующую потребностям нынешних и будущих сотрудников и обучающихся</a:t>
              </a:r>
              <a:r>
                <a:rPr lang="en-GB" sz="1600" i="1">
                  <a:solidFill>
                    <a:schemeClr val="bg1">
                      <a:lumMod val="65000"/>
                    </a:schemeClr>
                  </a:solidFill>
                  <a:latin typeface="Aptos" panose="020B0004020202020204" pitchFamily="34" charset="0"/>
                </a:rPr>
                <a:t>)</a:t>
              </a:r>
              <a:endParaRPr lang="en-GB" sz="1600" i="1">
                <a:solidFill>
                  <a:schemeClr val="bg1">
                    <a:lumMod val="65000"/>
                  </a:schemeClr>
                </a:solidFill>
                <a:latin typeface="Aptos" panose="020B0004020202020204" pitchFamily="34" charset="0"/>
                <a:cs typeface="Arial" panose="020B0604020202020204" pitchFamily="34" charset="0"/>
              </a:endParaRPr>
            </a:p>
            <a:p>
              <a:pPr algn="ctr">
                <a:buClr>
                  <a:schemeClr val="accent1"/>
                </a:buClr>
              </a:pPr>
              <a:endParaRPr lang="en-GB" sz="20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 panose="020B0604020202020204" pitchFamily="34" charset="0"/>
              </a:endParaRPr>
            </a:p>
            <a:p>
              <a:pPr algn="ctr">
                <a:buClr>
                  <a:schemeClr val="accent1"/>
                </a:buClr>
              </a:pPr>
              <a:endParaRPr lang="en-GB" sz="20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 panose="020B0604020202020204" pitchFamily="34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ru-RU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cs typeface="Arial" panose="020B0604020202020204" pitchFamily="34" charset="0"/>
                </a:rPr>
                <a:t>Критерии </a:t>
              </a:r>
              <a:r>
                <a:rPr lang="en-GB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cs typeface="Arial" panose="020B0604020202020204" pitchFamily="34" charset="0"/>
                </a:rPr>
                <a:t>ISATCOVE </a:t>
              </a:r>
            </a:p>
            <a:p>
              <a:pPr algn="ctr">
                <a:buClr>
                  <a:schemeClr val="accent1"/>
                </a:buClr>
              </a:pPr>
              <a:r>
                <a:rPr lang="en-GB" sz="1600" i="1">
                  <a:solidFill>
                    <a:schemeClr val="bg1">
                      <a:lumMod val="65000"/>
                    </a:schemeClr>
                  </a:solidFill>
                  <a:latin typeface="Aptos" panose="020B0004020202020204" pitchFamily="34" charset="0"/>
                  <a:sym typeface="Calibri"/>
                </a:rPr>
                <a:t>(</a:t>
              </a:r>
              <a:r>
                <a:rPr lang="ru-RU" sz="1600" i="1">
                  <a:solidFill>
                    <a:schemeClr val="bg1">
                      <a:lumMod val="65000"/>
                    </a:schemeClr>
                  </a:solidFill>
                  <a:latin typeface="Aptos" panose="020B0004020202020204" pitchFamily="34" charset="0"/>
                  <a:sym typeface="Calibri"/>
                </a:rPr>
                <a:t>GF5: Инфраструктура, технологии, учебные помещения и человеческие ресурсы соответствуют требованиям отраслей и профессий, для которых осуществляется развитие навыков</a:t>
              </a:r>
              <a:r>
                <a:rPr lang="en-GB" sz="1600" i="1">
                  <a:solidFill>
                    <a:schemeClr val="bg1">
                      <a:lumMod val="65000"/>
                    </a:schemeClr>
                  </a:solidFill>
                  <a:latin typeface="Aptos" panose="020B0004020202020204" pitchFamily="34" charset="0"/>
                  <a:sym typeface="Calibri"/>
                </a:rPr>
                <a:t>)</a:t>
              </a:r>
              <a:endParaRPr lang="en-GB" sz="20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7F524DED-E7A3-0D2B-A6B7-49D98FD3BB04}"/>
                </a:ext>
              </a:extLst>
            </p:cNvPr>
            <p:cNvSpPr/>
            <p:nvPr/>
          </p:nvSpPr>
          <p:spPr>
            <a:xfrm>
              <a:off x="10003822" y="4021145"/>
              <a:ext cx="227100" cy="425911"/>
            </a:xfrm>
            <a:prstGeom prst="up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" name="Google Shape;171;p12">
            <a:extLst>
              <a:ext uri="{FF2B5EF4-FFF2-40B4-BE49-F238E27FC236}">
                <a16:creationId xmlns:a16="http://schemas.microsoft.com/office/drawing/2014/main" id="{A3DDA087-7DEF-C953-6397-7FDAE43588D8}"/>
              </a:ext>
            </a:extLst>
          </p:cNvPr>
          <p:cNvSpPr txBox="1">
            <a:spLocks/>
          </p:cNvSpPr>
          <p:nvPr/>
        </p:nvSpPr>
        <p:spPr>
          <a:xfrm>
            <a:off x="2135560" y="5121767"/>
            <a:ext cx="2933349" cy="12749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Поддержка заинтересованных сторон</a:t>
            </a:r>
          </a:p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Внешняя видимость </a:t>
            </a:r>
          </a:p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С чётко определёнными сроками</a:t>
            </a:r>
            <a:endParaRPr lang="en-GB" sz="180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17" name="Google Shape;171;p12">
            <a:extLst>
              <a:ext uri="{FF2B5EF4-FFF2-40B4-BE49-F238E27FC236}">
                <a16:creationId xmlns:a16="http://schemas.microsoft.com/office/drawing/2014/main" id="{E3920D92-6FDA-29A5-3035-18BA7759142D}"/>
              </a:ext>
            </a:extLst>
          </p:cNvPr>
          <p:cNvSpPr txBox="1">
            <a:spLocks/>
          </p:cNvSpPr>
          <p:nvPr/>
        </p:nvSpPr>
        <p:spPr>
          <a:xfrm>
            <a:off x="5057993" y="5071169"/>
            <a:ext cx="3528392" cy="14682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Реалистичный с учётом имеющихся ресурсов, потенциала и мотивации</a:t>
            </a:r>
          </a:p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Регулярно пересматривается и при необходимости обновляется</a:t>
            </a:r>
            <a:endParaRPr lang="en-GB" sz="180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50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E3ECB9-3D92-7B9C-5813-B00DC91973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75A6DE84-31A9-2648-A05B-9EC670DEEB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AB87576-1E9C-6BD8-1FB1-17F58D2C1BE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6AB15D0-9A25-52A5-011F-5EBACF964E0E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E181A2A-371C-57EF-1345-6DB51B1910F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D6433C4-2DB0-9E8A-3484-0F265F4A43CE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>
                <a:solidFill>
                  <a:srgbClr val="000000"/>
                </a:solidFill>
              </a:rPr>
              <a:t>Что дальше</a:t>
            </a:r>
            <a:r>
              <a:rPr lang="en-GB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6CBFA6-3B97-E401-002D-8F405ABD608D}"/>
              </a:ext>
            </a:extLst>
          </p:cNvPr>
          <p:cNvSpPr txBox="1"/>
          <p:nvPr/>
        </p:nvSpPr>
        <p:spPr>
          <a:xfrm>
            <a:off x="9694120" y="4467992"/>
            <a:ext cx="2592169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200" b="1">
                <a:solidFill>
                  <a:schemeClr val="bg1"/>
                </a:solidFill>
                <a:ea typeface="+mn-lt"/>
                <a:cs typeface="Arial" panose="020B0604020202020204" pitchFamily="34" charset="0"/>
              </a:rPr>
              <a:t>Performance in VET Excellence</a:t>
            </a:r>
          </a:p>
        </p:txBody>
      </p:sp>
      <p:pic>
        <p:nvPicPr>
          <p:cNvPr id="8" name="Picture 7" descr="A certificate of excellence with stars and text&#10;&#10;Description automatically generated">
            <a:extLst>
              <a:ext uri="{FF2B5EF4-FFF2-40B4-BE49-F238E27FC236}">
                <a16:creationId xmlns:a16="http://schemas.microsoft.com/office/drawing/2014/main" id="{AAF2D953-7657-D565-3710-85889140B1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6080" y="2700141"/>
            <a:ext cx="3052181" cy="216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858F5BBB-D2C9-A353-8C19-237735F7E2E2}"/>
              </a:ext>
            </a:extLst>
          </p:cNvPr>
          <p:cNvGrpSpPr/>
          <p:nvPr/>
        </p:nvGrpSpPr>
        <p:grpSpPr>
          <a:xfrm>
            <a:off x="1454910" y="2313692"/>
            <a:ext cx="4457750" cy="2407521"/>
            <a:chOff x="33957" y="2372995"/>
            <a:chExt cx="4457750" cy="2407521"/>
          </a:xfrm>
        </p:grpSpPr>
        <p:sp>
          <p:nvSpPr>
            <p:cNvPr id="15" name="Google Shape;510;p24">
              <a:extLst>
                <a:ext uri="{FF2B5EF4-FFF2-40B4-BE49-F238E27FC236}">
                  <a16:creationId xmlns:a16="http://schemas.microsoft.com/office/drawing/2014/main" id="{EAFABBF2-E155-1675-7608-2D04A3967FAB}"/>
                </a:ext>
              </a:extLst>
            </p:cNvPr>
            <p:cNvSpPr txBox="1"/>
            <p:nvPr/>
          </p:nvSpPr>
          <p:spPr>
            <a:xfrm>
              <a:off x="33957" y="2372995"/>
              <a:ext cx="4229401" cy="23317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457200" marR="60325" lvl="1" indent="0" algn="ctr" rtl="0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400" b="1" i="0" u="none" strike="noStrike" cap="none">
                  <a:solidFill>
                    <a:schemeClr val="accent2"/>
                  </a:solidFill>
                  <a:latin typeface="Arial"/>
                  <a:ea typeface="Arial"/>
                  <a:cs typeface="Arial"/>
                  <a:sym typeface="Arial"/>
                </a:rPr>
                <a:t>Запрос</a:t>
              </a:r>
              <a:endParaRPr lang="en-GB" sz="24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457200" marR="60325" lvl="1" indent="0" algn="ctr" rtl="0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2400" b="0" i="0" u="none" strike="noStrike" cap="none">
                  <a:solidFill>
                    <a:srgbClr val="2E4486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lang="ru-RU" sz="2400" b="0" i="0" u="none" strike="noStrike" cap="none">
                <a:solidFill>
                  <a:srgbClr val="2E4486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457200" marR="60325" lvl="1" indent="0" algn="ctr" rtl="0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ea typeface="Arial"/>
                  <a:cs typeface="Arial"/>
                  <a:sym typeface="Arial"/>
                </a:rPr>
                <a:t>Подтверждение приверженности профессиональному мастерству</a:t>
              </a:r>
              <a:endParaRPr sz="2200" b="0" i="0" u="none" strike="noStrike" cap="none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512;p24">
              <a:extLst>
                <a:ext uri="{FF2B5EF4-FFF2-40B4-BE49-F238E27FC236}">
                  <a16:creationId xmlns:a16="http://schemas.microsoft.com/office/drawing/2014/main" id="{86883508-4E71-2F86-8841-06D82EF08D1E}"/>
                </a:ext>
              </a:extLst>
            </p:cNvPr>
            <p:cNvSpPr/>
            <p:nvPr/>
          </p:nvSpPr>
          <p:spPr>
            <a:xfrm rot="5288748">
              <a:off x="1491870" y="1737285"/>
              <a:ext cx="1795356" cy="4204319"/>
            </a:xfrm>
            <a:prstGeom prst="flowChartConnector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513;p24">
              <a:extLst>
                <a:ext uri="{FF2B5EF4-FFF2-40B4-BE49-F238E27FC236}">
                  <a16:creationId xmlns:a16="http://schemas.microsoft.com/office/drawing/2014/main" id="{2D6DB107-9249-58E2-71D8-F4425A388697}"/>
                </a:ext>
              </a:extLst>
            </p:cNvPr>
            <p:cNvSpPr/>
            <p:nvPr/>
          </p:nvSpPr>
          <p:spPr>
            <a:xfrm rot="5481002">
              <a:off x="1334665" y="1701811"/>
              <a:ext cx="1798580" cy="4358829"/>
            </a:xfrm>
            <a:prstGeom prst="flowChartConnector">
              <a:avLst/>
            </a:prstGeom>
            <a:noFill/>
            <a:ln w="19050" cap="flat" cmpd="sng">
              <a:solidFill>
                <a:srgbClr val="71C27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061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0D8A0D-DC4C-423A-39D0-40F5CDE372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BA6B822D-8928-5175-4E83-455C009F4E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5C37299-3009-B46B-48FD-B5D70D322F1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E078960-CAA7-9E3B-18A6-F66F00C8B470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F5FBFAF-FDDE-644F-F584-EDCD87C4AE3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AEBF9CF2-911C-8D5C-5ADA-79BFCB99B628}"/>
              </a:ext>
            </a:extLst>
          </p:cNvPr>
          <p:cNvGrpSpPr/>
          <p:nvPr/>
        </p:nvGrpSpPr>
        <p:grpSpPr>
          <a:xfrm>
            <a:off x="102408" y="2208651"/>
            <a:ext cx="3087533" cy="3068959"/>
            <a:chOff x="8592000" y="2410332"/>
            <a:chExt cx="3600000" cy="360000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B198D4F-51D7-D0D9-154C-61D5689C6E5C}"/>
                </a:ext>
              </a:extLst>
            </p:cNvPr>
            <p:cNvSpPr/>
            <p:nvPr/>
          </p:nvSpPr>
          <p:spPr>
            <a:xfrm>
              <a:off x="8592000" y="2410332"/>
              <a:ext cx="3600000" cy="3600000"/>
            </a:xfrm>
            <a:prstGeom prst="ellipse">
              <a:avLst/>
            </a:prstGeom>
            <a:gradFill>
              <a:gsLst>
                <a:gs pos="0">
                  <a:srgbClr val="F69872">
                    <a:alpha val="22611"/>
                  </a:srgbClr>
                </a:gs>
                <a:gs pos="95000">
                  <a:schemeClr val="accent2">
                    <a:alpha val="46000"/>
                  </a:schemeClr>
                </a:gs>
              </a:gsLst>
              <a:lin ang="84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ctr"/>
            <a:lstStyle/>
            <a:p>
              <a:pPr algn="ctr"/>
              <a:endParaRPr lang="en-GB" sz="4800" b="1"/>
            </a:p>
          </p:txBody>
        </p:sp>
        <p:pic>
          <p:nvPicPr>
            <p:cNvPr id="8" name="Slika 4">
              <a:extLst>
                <a:ext uri="{FF2B5EF4-FFF2-40B4-BE49-F238E27FC236}">
                  <a16:creationId xmlns:a16="http://schemas.microsoft.com/office/drawing/2014/main" id="{F3B249B1-3D36-DFDC-7759-E273C39FD6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21747" r="14286"/>
            <a:stretch/>
          </p:blipFill>
          <p:spPr>
            <a:xfrm>
              <a:off x="9421286" y="2912572"/>
              <a:ext cx="2770714" cy="2880000"/>
            </a:xfrm>
            <a:prstGeom prst="ellipse">
              <a:avLst/>
            </a:prstGeom>
            <a:noFill/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612CDF5-28E1-FF13-D9A8-247FB62D672A}"/>
              </a:ext>
            </a:extLst>
          </p:cNvPr>
          <p:cNvGrpSpPr/>
          <p:nvPr/>
        </p:nvGrpSpPr>
        <p:grpSpPr>
          <a:xfrm>
            <a:off x="3228471" y="2705855"/>
            <a:ext cx="4762773" cy="2074552"/>
            <a:chOff x="1395551" y="3178270"/>
            <a:chExt cx="6015814" cy="207455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67E2B8-2AE8-905A-07B0-D9D9A0EE1604}"/>
                </a:ext>
              </a:extLst>
            </p:cNvPr>
            <p:cNvSpPr/>
            <p:nvPr/>
          </p:nvSpPr>
          <p:spPr>
            <a:xfrm>
              <a:off x="1492885" y="3178270"/>
              <a:ext cx="5918480" cy="207455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265F20-85A2-061E-1163-86977DDFA0E0}"/>
                </a:ext>
              </a:extLst>
            </p:cNvPr>
            <p:cNvSpPr txBox="1"/>
            <p:nvPr/>
          </p:nvSpPr>
          <p:spPr>
            <a:xfrm>
              <a:off x="1395551" y="3551974"/>
              <a:ext cx="5893827" cy="16312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000">
                  <a:solidFill>
                    <a:schemeClr val="bg1"/>
                  </a:solidFill>
                  <a:latin typeface="Aptos" panose="020B0004020202020204" pitchFamily="34" charset="0"/>
                </a:rPr>
                <a:t>Лучшая практика демонстрирует подтверждённые доказательства </a:t>
              </a:r>
              <a:r>
                <a:rPr lang="ru-RU" sz="2000" b="1">
                  <a:solidFill>
                    <a:schemeClr val="bg1"/>
                  </a:solidFill>
                  <a:latin typeface="Aptos" panose="020B0004020202020204" pitchFamily="34" charset="0"/>
                </a:rPr>
                <a:t>инновационных подходов учреждения и их измеримого воздействия.</a:t>
              </a:r>
              <a:endParaRPr lang="en-GB" sz="2000" b="1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38ED318-0722-B5F4-ADAE-ACE5CCD483AD}"/>
              </a:ext>
            </a:extLst>
          </p:cNvPr>
          <p:cNvSpPr txBox="1"/>
          <p:nvPr/>
        </p:nvSpPr>
        <p:spPr>
          <a:xfrm>
            <a:off x="3570763" y="1354701"/>
            <a:ext cx="41745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800" b="1" kern="1200">
                <a:solidFill>
                  <a:schemeClr val="accent2"/>
                </a:solidFill>
                <a:latin typeface="Aptos Light" panose="020B0004020202020204" pitchFamily="34" charset="0"/>
                <a:cs typeface="Arial" panose="020B0604020202020204" pitchFamily="34" charset="0"/>
              </a:rPr>
              <a:t>Быть моделью для других</a:t>
            </a:r>
            <a:endParaRPr lang="en-GB" sz="2800" b="1">
              <a:solidFill>
                <a:schemeClr val="accent2"/>
              </a:solidFill>
              <a:latin typeface="Aptos Light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518AC9-7091-5100-E0AC-87B1EEC20DFC}"/>
              </a:ext>
            </a:extLst>
          </p:cNvPr>
          <p:cNvSpPr txBox="1"/>
          <p:nvPr/>
        </p:nvSpPr>
        <p:spPr>
          <a:xfrm>
            <a:off x="3485874" y="2107877"/>
            <a:ext cx="41513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Clr>
                <a:schemeClr val="accent2">
                  <a:lumMod val="75000"/>
                </a:schemeClr>
              </a:buClr>
            </a:pPr>
            <a:r>
              <a:rPr lang="ru-RU" sz="2800" b="1">
                <a:sym typeface="Arial"/>
              </a:rPr>
              <a:t>Лучшие практики</a:t>
            </a:r>
            <a:endParaRPr lang="en-GB" sz="2800" b="1"/>
          </a:p>
        </p:txBody>
      </p:sp>
      <p:pic>
        <p:nvPicPr>
          <p:cNvPr id="18" name="Slika 13" descr="Slika na kojoj se prikazuje tekst, snimka zaslona, broj, Font&#10;&#10;Opis je automatski generiran">
            <a:extLst>
              <a:ext uri="{FF2B5EF4-FFF2-40B4-BE49-F238E27FC236}">
                <a16:creationId xmlns:a16="http://schemas.microsoft.com/office/drawing/2014/main" id="{23F7FAE6-C021-354B-5D5A-DDDEA2E2CA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8"/>
          <a:stretch/>
        </p:blipFill>
        <p:spPr>
          <a:xfrm>
            <a:off x="8217589" y="2097427"/>
            <a:ext cx="3477868" cy="3600000"/>
          </a:xfrm>
          <a:prstGeom prst="rect">
            <a:avLst/>
          </a:prstGeom>
        </p:spPr>
      </p:pic>
      <p:sp>
        <p:nvSpPr>
          <p:cNvPr id="20" name="Google Shape;171;p12">
            <a:extLst>
              <a:ext uri="{FF2B5EF4-FFF2-40B4-BE49-F238E27FC236}">
                <a16:creationId xmlns:a16="http://schemas.microsoft.com/office/drawing/2014/main" id="{7B4B46F8-8326-CA79-00AA-26341605531E}"/>
              </a:ext>
            </a:extLst>
          </p:cNvPr>
          <p:cNvSpPr txBox="1">
            <a:spLocks/>
          </p:cNvSpPr>
          <p:nvPr/>
        </p:nvSpPr>
        <p:spPr>
          <a:xfrm>
            <a:off x="5780836" y="5008908"/>
            <a:ext cx="2433109" cy="9170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Факторы успеха</a:t>
            </a:r>
            <a:endParaRPr lang="en-GB" sz="180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Воздействие</a:t>
            </a:r>
            <a:endParaRPr lang="en-GB" sz="180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21" name="Google Shape;171;p12">
            <a:extLst>
              <a:ext uri="{FF2B5EF4-FFF2-40B4-BE49-F238E27FC236}">
                <a16:creationId xmlns:a16="http://schemas.microsoft.com/office/drawing/2014/main" id="{C69F8843-453C-ADB8-4EC9-09DA410B8C9F}"/>
              </a:ext>
            </a:extLst>
          </p:cNvPr>
          <p:cNvSpPr txBox="1">
            <a:spLocks/>
          </p:cNvSpPr>
          <p:nvPr/>
        </p:nvSpPr>
        <p:spPr>
          <a:xfrm>
            <a:off x="3420108" y="5008908"/>
            <a:ext cx="2433109" cy="9170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Результаты</a:t>
            </a:r>
            <a:endParaRPr lang="en-GB" sz="180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  <a:p>
            <a:pPr>
              <a:buClr>
                <a:schemeClr val="accent1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8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</a:rPr>
              <a:t>Ограничения</a:t>
            </a:r>
            <a:endParaRPr lang="en-GB" sz="180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B7CBFDA9-7C4D-E57F-5A2D-258CAC619FD3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Мониторинг и развитие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B1F21DD-9DFE-089D-345C-B559CC31872A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245D82ED-48B5-DDC6-483C-D1BF3C50234A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835EDB9-2C5F-C965-0248-818EB4AF9B85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bg1"/>
                  </a:solidFill>
                </a:rPr>
                <a:t>ЭТАП</a:t>
              </a:r>
              <a:r>
                <a:rPr lang="en-GB" sz="2000" i="1">
                  <a:solidFill>
                    <a:schemeClr val="bg1"/>
                  </a:solidFill>
                </a:rPr>
                <a:t>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54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9BB4D-4228-6F09-FDAC-51A14482D4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val 51">
            <a:extLst>
              <a:ext uri="{FF2B5EF4-FFF2-40B4-BE49-F238E27FC236}">
                <a16:creationId xmlns:a16="http://schemas.microsoft.com/office/drawing/2014/main" id="{742769A7-C175-C1CA-4CFA-F5C27F015AD1}"/>
              </a:ext>
            </a:extLst>
          </p:cNvPr>
          <p:cNvSpPr/>
          <p:nvPr/>
        </p:nvSpPr>
        <p:spPr>
          <a:xfrm>
            <a:off x="186725" y="1892620"/>
            <a:ext cx="4147911" cy="3813569"/>
          </a:xfrm>
          <a:prstGeom prst="ellipse">
            <a:avLst/>
          </a:prstGeom>
          <a:gradFill>
            <a:gsLst>
              <a:gs pos="0">
                <a:schemeClr val="accent5">
                  <a:alpha val="46899"/>
                </a:schemeClr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>
              <a:spcAft>
                <a:spcPts val="600"/>
              </a:spcAft>
            </a:pPr>
            <a:endParaRPr lang="en-US" sz="3600" b="1"/>
          </a:p>
        </p:txBody>
      </p:sp>
      <p:pic>
        <p:nvPicPr>
          <p:cNvPr id="13" name="Picture 2" descr="Digital and content communication specialist, The European ...">
            <a:extLst>
              <a:ext uri="{FF2B5EF4-FFF2-40B4-BE49-F238E27FC236}">
                <a16:creationId xmlns:a16="http://schemas.microsoft.com/office/drawing/2014/main" id="{B16F7578-79EB-E19E-068E-CB10239D13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6" t="29840" r="7476" b="21020"/>
          <a:stretch>
            <a:fillRect/>
          </a:stretch>
        </p:blipFill>
        <p:spPr bwMode="auto">
          <a:xfrm>
            <a:off x="445786" y="5805304"/>
            <a:ext cx="147692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A972306-EA6E-7D8C-1AB9-89445EA617D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016474" y="5915932"/>
            <a:ext cx="1729740" cy="6480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34522F1-B5C4-A8D4-7655-7D258B41CE96}"/>
              </a:ext>
            </a:extLst>
          </p:cNvPr>
          <p:cNvCxnSpPr>
            <a:cxnSpLocks/>
          </p:cNvCxnSpPr>
          <p:nvPr/>
        </p:nvCxnSpPr>
        <p:spPr>
          <a:xfrm>
            <a:off x="1700548" y="1124744"/>
            <a:ext cx="9936000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4DD16F9-18E0-20F6-D92E-3B3B80AC618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tretch>
            <a:fillRect/>
          </a:stretch>
        </p:blipFill>
        <p:spPr>
          <a:xfrm>
            <a:off x="830709" y="1327483"/>
            <a:ext cx="1847999" cy="396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BB79086-4784-05C4-C2C8-F1D2AF4EA70D}"/>
              </a:ext>
            </a:extLst>
          </p:cNvPr>
          <p:cNvSpPr txBox="1"/>
          <p:nvPr/>
        </p:nvSpPr>
        <p:spPr>
          <a:xfrm>
            <a:off x="7880516" y="234911"/>
            <a:ext cx="40324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67512">
              <a:spcAft>
                <a:spcPts val="600"/>
              </a:spcAft>
            </a:pPr>
            <a:r>
              <a:rPr lang="ru-RU" sz="2000" kern="1200">
                <a:solidFill>
                  <a:schemeClr val="accent2"/>
                </a:solidFill>
                <a:latin typeface="Aptos Display" panose="020B0004020202020204" pitchFamily="34" charset="0"/>
                <a:cs typeface="Arial" panose="020B0604020202020204" pitchFamily="34" charset="0"/>
              </a:rPr>
              <a:t>Мастерство — это итеративный  процесс </a:t>
            </a:r>
            <a:endParaRPr lang="en-GB" sz="2000">
              <a:solidFill>
                <a:schemeClr val="accent2"/>
              </a:solidFill>
              <a:latin typeface="Aptos Display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159792F3-118D-312B-83C3-291CA718E90B}"/>
              </a:ext>
            </a:extLst>
          </p:cNvPr>
          <p:cNvSpPr txBox="1">
            <a:spLocks/>
          </p:cNvSpPr>
          <p:nvPr/>
        </p:nvSpPr>
        <p:spPr>
          <a:xfrm>
            <a:off x="2411943" y="336540"/>
            <a:ext cx="6480720" cy="504056"/>
          </a:xfrm>
          <a:prstGeom prst="rect">
            <a:avLst/>
          </a:prstGeom>
        </p:spPr>
        <p:txBody>
          <a:bodyPr vert="horz" lIns="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000000"/>
                </a:solidFill>
              </a:rPr>
              <a:t>Мониторинг и развитие</a:t>
            </a: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169A91E-0F7B-832D-DD40-F5C455B4BB42}"/>
              </a:ext>
            </a:extLst>
          </p:cNvPr>
          <p:cNvGrpSpPr/>
          <p:nvPr/>
        </p:nvGrpSpPr>
        <p:grpSpPr>
          <a:xfrm>
            <a:off x="541897" y="206816"/>
            <a:ext cx="1901978" cy="768855"/>
            <a:chOff x="4134227" y="2708267"/>
            <a:chExt cx="1901978" cy="903665"/>
          </a:xfrm>
        </p:grpSpPr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BA53B1FE-6ABB-E7C1-E76A-2A0BC4E61FA8}"/>
                </a:ext>
              </a:extLst>
            </p:cNvPr>
            <p:cNvSpPr/>
            <p:nvPr/>
          </p:nvSpPr>
          <p:spPr>
            <a:xfrm rot="5400000">
              <a:off x="4633384" y="2517426"/>
              <a:ext cx="903665" cy="1285347"/>
            </a:xfrm>
            <a:prstGeom prst="chevron">
              <a:avLst>
                <a:gd name="adj" fmla="val 20079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66AD921-BA28-CC5C-247C-AF249105CE83}"/>
                </a:ext>
              </a:extLst>
            </p:cNvPr>
            <p:cNvSpPr txBox="1"/>
            <p:nvPr/>
          </p:nvSpPr>
          <p:spPr>
            <a:xfrm>
              <a:off x="4134227" y="2928244"/>
              <a:ext cx="1901978" cy="47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i="1">
                  <a:solidFill>
                    <a:schemeClr val="bg1"/>
                  </a:solidFill>
                </a:rPr>
                <a:t>ЭТАП </a:t>
              </a:r>
              <a:r>
                <a:rPr lang="en-GB" sz="2000" i="1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197E87A-B32A-2BF0-8505-2503A08462B1}"/>
              </a:ext>
            </a:extLst>
          </p:cNvPr>
          <p:cNvGrpSpPr/>
          <p:nvPr/>
        </p:nvGrpSpPr>
        <p:grpSpPr>
          <a:xfrm>
            <a:off x="3861506" y="1329748"/>
            <a:ext cx="7143294" cy="4614253"/>
            <a:chOff x="1686450" y="1625679"/>
            <a:chExt cx="7143294" cy="461425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BB87909-8353-8DD3-4580-2563028F2758}"/>
                </a:ext>
              </a:extLst>
            </p:cNvPr>
            <p:cNvGrpSpPr/>
            <p:nvPr/>
          </p:nvGrpSpPr>
          <p:grpSpPr>
            <a:xfrm>
              <a:off x="2573918" y="1625679"/>
              <a:ext cx="6255826" cy="4614253"/>
              <a:chOff x="4057810" y="853386"/>
              <a:chExt cx="7106373" cy="5317661"/>
            </a:xfrm>
          </p:grpSpPr>
          <p:grpSp>
            <p:nvGrpSpPr>
              <p:cNvPr id="4" name="Google Shape;183;p14">
                <a:extLst>
                  <a:ext uri="{FF2B5EF4-FFF2-40B4-BE49-F238E27FC236}">
                    <a16:creationId xmlns:a16="http://schemas.microsoft.com/office/drawing/2014/main" id="{E85F52DB-38EC-D0F9-9F44-A504275E8846}"/>
                  </a:ext>
                </a:extLst>
              </p:cNvPr>
              <p:cNvGrpSpPr/>
              <p:nvPr/>
            </p:nvGrpSpPr>
            <p:grpSpPr>
              <a:xfrm>
                <a:off x="4057810" y="853386"/>
                <a:ext cx="5508674" cy="5317661"/>
                <a:chOff x="1944197" y="1152"/>
                <a:chExt cx="5508674" cy="5317661"/>
              </a:xfrm>
            </p:grpSpPr>
            <p:sp>
              <p:nvSpPr>
                <p:cNvPr id="23" name="Google Shape;184;p14">
                  <a:extLst>
                    <a:ext uri="{FF2B5EF4-FFF2-40B4-BE49-F238E27FC236}">
                      <a16:creationId xmlns:a16="http://schemas.microsoft.com/office/drawing/2014/main" id="{184DECAA-ED2A-E70F-7710-9AC2348AE385}"/>
                    </a:ext>
                  </a:extLst>
                </p:cNvPr>
                <p:cNvSpPr/>
                <p:nvPr/>
              </p:nvSpPr>
              <p:spPr>
                <a:xfrm>
                  <a:off x="3895562" y="1152"/>
                  <a:ext cx="1605944" cy="1605944"/>
                </a:xfrm>
                <a:prstGeom prst="ellipse">
                  <a:avLst/>
                </a:prstGeom>
                <a:solidFill>
                  <a:srgbClr val="018BB1"/>
                </a:solidFill>
                <a:ln w="12700" cap="flat" cmpd="sng">
                  <a:solidFill>
                    <a:schemeClr val="lt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8" name="Google Shape;185;p14">
                  <a:extLst>
                    <a:ext uri="{FF2B5EF4-FFF2-40B4-BE49-F238E27FC236}">
                      <a16:creationId xmlns:a16="http://schemas.microsoft.com/office/drawing/2014/main" id="{19410A42-DD95-FAF8-ABB2-C1384CC020DB}"/>
                    </a:ext>
                  </a:extLst>
                </p:cNvPr>
                <p:cNvSpPr txBox="1"/>
                <p:nvPr/>
              </p:nvSpPr>
              <p:spPr>
                <a:xfrm>
                  <a:off x="4130747" y="236337"/>
                  <a:ext cx="1266666" cy="11355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22850" tIns="22850" rIns="22850" bIns="2285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lt1"/>
                    </a:buClr>
                    <a:buSzPts val="1800"/>
                    <a:buFont typeface="Calibri"/>
                    <a:buNone/>
                  </a:pPr>
                  <a:r>
                    <a:rPr lang="ru-RU" sz="1600">
                      <a:solidFill>
                        <a:schemeClr val="lt1"/>
                      </a:solidFill>
                      <a:latin typeface="Calibri"/>
                      <a:ea typeface="Calibri"/>
                      <a:cs typeface="Calibri"/>
                      <a:sym typeface="Calibri"/>
                    </a:rPr>
                    <a:t>Определить целевые показатели</a:t>
                  </a:r>
                  <a:endParaRPr sz="1600"/>
                </a:p>
              </p:txBody>
            </p:sp>
            <p:sp>
              <p:nvSpPr>
                <p:cNvPr id="29" name="Google Shape;186;p14">
                  <a:extLst>
                    <a:ext uri="{FF2B5EF4-FFF2-40B4-BE49-F238E27FC236}">
                      <a16:creationId xmlns:a16="http://schemas.microsoft.com/office/drawing/2014/main" id="{ACE4EDFB-A470-1FDA-E05A-C7C210BB76C7}"/>
                    </a:ext>
                  </a:extLst>
                </p:cNvPr>
                <p:cNvSpPr/>
                <p:nvPr/>
              </p:nvSpPr>
              <p:spPr>
                <a:xfrm rot="2160000">
                  <a:off x="5450825" y="1234889"/>
                  <a:ext cx="427219" cy="542006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solidFill>
                  <a:srgbClr val="F2F2C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0" name="Google Shape;187;p14">
                  <a:extLst>
                    <a:ext uri="{FF2B5EF4-FFF2-40B4-BE49-F238E27FC236}">
                      <a16:creationId xmlns:a16="http://schemas.microsoft.com/office/drawing/2014/main" id="{2F4AAF67-2C9C-FA2F-B85F-BFDAC8C89A95}"/>
                    </a:ext>
                  </a:extLst>
                </p:cNvPr>
                <p:cNvSpPr txBox="1"/>
                <p:nvPr/>
              </p:nvSpPr>
              <p:spPr>
                <a:xfrm rot="2160000">
                  <a:off x="5463064" y="1305623"/>
                  <a:ext cx="299053" cy="32520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500"/>
                    <a:buFont typeface="Calibri"/>
                    <a:buNone/>
                  </a:pPr>
                  <a:endParaRPr sz="15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1" name="Google Shape;188;p14">
                  <a:extLst>
                    <a:ext uri="{FF2B5EF4-FFF2-40B4-BE49-F238E27FC236}">
                      <a16:creationId xmlns:a16="http://schemas.microsoft.com/office/drawing/2014/main" id="{0E9398B2-E63F-28DB-AA36-8369B1EEA97B}"/>
                    </a:ext>
                  </a:extLst>
                </p:cNvPr>
                <p:cNvSpPr/>
                <p:nvPr/>
              </p:nvSpPr>
              <p:spPr>
                <a:xfrm>
                  <a:off x="5846927" y="1418902"/>
                  <a:ext cx="1605944" cy="1605944"/>
                </a:xfrm>
                <a:prstGeom prst="ellipse">
                  <a:avLst/>
                </a:prstGeom>
                <a:solidFill>
                  <a:srgbClr val="789494"/>
                </a:solidFill>
                <a:ln w="12700" cap="flat" cmpd="sng">
                  <a:solidFill>
                    <a:schemeClr val="lt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2" name="Google Shape;189;p14">
                  <a:extLst>
                    <a:ext uri="{FF2B5EF4-FFF2-40B4-BE49-F238E27FC236}">
                      <a16:creationId xmlns:a16="http://schemas.microsoft.com/office/drawing/2014/main" id="{DA4DE761-94C6-6858-F92C-492F7501ADAD}"/>
                    </a:ext>
                  </a:extLst>
                </p:cNvPr>
                <p:cNvSpPr txBox="1"/>
                <p:nvPr/>
              </p:nvSpPr>
              <p:spPr>
                <a:xfrm>
                  <a:off x="5994262" y="1660987"/>
                  <a:ext cx="1370759" cy="11355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22850" tIns="22850" rIns="22850" bIns="2285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lt1"/>
                    </a:buClr>
                    <a:buSzPts val="1800"/>
                    <a:buFont typeface="Calibri"/>
                    <a:buNone/>
                  </a:pPr>
                  <a:r>
                    <a:rPr lang="ru-RU" sz="1600">
                      <a:solidFill>
                        <a:schemeClr val="lt1"/>
                      </a:solidFill>
                      <a:latin typeface="Calibri"/>
                      <a:ea typeface="Calibri"/>
                      <a:cs typeface="Calibri"/>
                      <a:sym typeface="Calibri"/>
                    </a:rPr>
                    <a:t>Определить критерии успеха</a:t>
                  </a:r>
                  <a:endParaRPr sz="1600"/>
                </a:p>
              </p:txBody>
            </p:sp>
            <p:sp>
              <p:nvSpPr>
                <p:cNvPr id="33" name="Google Shape;190;p14">
                  <a:extLst>
                    <a:ext uri="{FF2B5EF4-FFF2-40B4-BE49-F238E27FC236}">
                      <a16:creationId xmlns:a16="http://schemas.microsoft.com/office/drawing/2014/main" id="{F684B639-AE74-1296-5D1D-8DFAD0D8E99A}"/>
                    </a:ext>
                  </a:extLst>
                </p:cNvPr>
                <p:cNvSpPr/>
                <p:nvPr/>
              </p:nvSpPr>
              <p:spPr>
                <a:xfrm rot="6480000">
                  <a:off x="6067348" y="3086355"/>
                  <a:ext cx="427219" cy="542006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solidFill>
                  <a:srgbClr val="018B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4" name="Google Shape;191;p14">
                  <a:extLst>
                    <a:ext uri="{FF2B5EF4-FFF2-40B4-BE49-F238E27FC236}">
                      <a16:creationId xmlns:a16="http://schemas.microsoft.com/office/drawing/2014/main" id="{A0E09B99-BFEA-0B8C-9799-EF73AD0C5B00}"/>
                    </a:ext>
                  </a:extLst>
                </p:cNvPr>
                <p:cNvSpPr txBox="1"/>
                <p:nvPr/>
              </p:nvSpPr>
              <p:spPr>
                <a:xfrm rot="-4320000">
                  <a:off x="6151234" y="3133809"/>
                  <a:ext cx="299053" cy="32520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500"/>
                    <a:buFont typeface="Calibri"/>
                    <a:buNone/>
                  </a:pPr>
                  <a:endParaRPr sz="15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5" name="Google Shape;192;p14">
                  <a:extLst>
                    <a:ext uri="{FF2B5EF4-FFF2-40B4-BE49-F238E27FC236}">
                      <a16:creationId xmlns:a16="http://schemas.microsoft.com/office/drawing/2014/main" id="{BEA27334-FB79-D308-63C2-B19EBFBD0909}"/>
                    </a:ext>
                  </a:extLst>
                </p:cNvPr>
                <p:cNvSpPr/>
                <p:nvPr/>
              </p:nvSpPr>
              <p:spPr>
                <a:xfrm>
                  <a:off x="5101572" y="3712869"/>
                  <a:ext cx="1605944" cy="1605944"/>
                </a:xfrm>
                <a:prstGeom prst="ellipse">
                  <a:avLst/>
                </a:prstGeom>
                <a:solidFill>
                  <a:srgbClr val="C2EBE7"/>
                </a:solidFill>
                <a:ln w="12700" cap="flat" cmpd="sng">
                  <a:solidFill>
                    <a:schemeClr val="lt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" name="Google Shape;193;p14">
                  <a:extLst>
                    <a:ext uri="{FF2B5EF4-FFF2-40B4-BE49-F238E27FC236}">
                      <a16:creationId xmlns:a16="http://schemas.microsoft.com/office/drawing/2014/main" id="{D2A64325-C4FD-75A6-965E-A1431E7B8A54}"/>
                    </a:ext>
                  </a:extLst>
                </p:cNvPr>
                <p:cNvSpPr txBox="1"/>
                <p:nvPr/>
              </p:nvSpPr>
              <p:spPr>
                <a:xfrm>
                  <a:off x="5149033" y="3875213"/>
                  <a:ext cx="1548098" cy="11355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22850" tIns="22850" rIns="22850" bIns="2285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18BB1"/>
                    </a:buClr>
                    <a:buSzPts val="1800"/>
                    <a:buFont typeface="Calibri"/>
                    <a:buNone/>
                  </a:pPr>
                  <a:r>
                    <a:rPr lang="ru-RU" sz="1600">
                      <a:solidFill>
                        <a:srgbClr val="018BB1"/>
                      </a:solidFill>
                      <a:latin typeface="Calibri"/>
                      <a:ea typeface="Calibri"/>
                      <a:cs typeface="Calibri"/>
                      <a:sym typeface="Calibri"/>
                    </a:rPr>
                    <a:t>Сбор доказательств</a:t>
                  </a:r>
                  <a:endParaRPr sz="1600">
                    <a:solidFill>
                      <a:srgbClr val="018BB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" name="Google Shape;194;p14">
                  <a:extLst>
                    <a:ext uri="{FF2B5EF4-FFF2-40B4-BE49-F238E27FC236}">
                      <a16:creationId xmlns:a16="http://schemas.microsoft.com/office/drawing/2014/main" id="{3D1AE9F4-868C-9B7F-A1F4-35A07F7D164B}"/>
                    </a:ext>
                  </a:extLst>
                </p:cNvPr>
                <p:cNvSpPr/>
                <p:nvPr/>
              </p:nvSpPr>
              <p:spPr>
                <a:xfrm rot="10800000">
                  <a:off x="4497015" y="4244838"/>
                  <a:ext cx="427219" cy="542006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solidFill>
                  <a:srgbClr val="789494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8" name="Google Shape;195;p14">
                  <a:extLst>
                    <a:ext uri="{FF2B5EF4-FFF2-40B4-BE49-F238E27FC236}">
                      <a16:creationId xmlns:a16="http://schemas.microsoft.com/office/drawing/2014/main" id="{28B40C72-3A73-B2DC-31F0-6F3E0774CB98}"/>
                    </a:ext>
                  </a:extLst>
                </p:cNvPr>
                <p:cNvSpPr txBox="1"/>
                <p:nvPr/>
              </p:nvSpPr>
              <p:spPr>
                <a:xfrm>
                  <a:off x="4625181" y="4353239"/>
                  <a:ext cx="299053" cy="32520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500"/>
                    <a:buFont typeface="Calibri"/>
                    <a:buNone/>
                  </a:pPr>
                  <a:endParaRPr sz="15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" name="Google Shape;196;p14">
                  <a:extLst>
                    <a:ext uri="{FF2B5EF4-FFF2-40B4-BE49-F238E27FC236}">
                      <a16:creationId xmlns:a16="http://schemas.microsoft.com/office/drawing/2014/main" id="{01308D6A-EE0B-EC2C-8F4B-5DC40725ACF9}"/>
                    </a:ext>
                  </a:extLst>
                </p:cNvPr>
                <p:cNvSpPr/>
                <p:nvPr/>
              </p:nvSpPr>
              <p:spPr>
                <a:xfrm>
                  <a:off x="2689552" y="3712869"/>
                  <a:ext cx="1605944" cy="1605944"/>
                </a:xfrm>
                <a:prstGeom prst="ellipse">
                  <a:avLst/>
                </a:prstGeom>
                <a:solidFill>
                  <a:srgbClr val="D5EECB"/>
                </a:solidFill>
                <a:ln w="12700" cap="flat" cmpd="sng">
                  <a:solidFill>
                    <a:schemeClr val="lt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0" name="Google Shape;197;p14">
                  <a:extLst>
                    <a:ext uri="{FF2B5EF4-FFF2-40B4-BE49-F238E27FC236}">
                      <a16:creationId xmlns:a16="http://schemas.microsoft.com/office/drawing/2014/main" id="{874A6D3D-2191-4B39-B834-CAF326694439}"/>
                    </a:ext>
                  </a:extLst>
                </p:cNvPr>
                <p:cNvSpPr txBox="1"/>
                <p:nvPr/>
              </p:nvSpPr>
              <p:spPr>
                <a:xfrm>
                  <a:off x="2924737" y="3948054"/>
                  <a:ext cx="1135574" cy="11355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22850" tIns="22850" rIns="22850" bIns="2285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789494"/>
                    </a:buClr>
                    <a:buSzPts val="1800"/>
                    <a:buFont typeface="Calibri"/>
                    <a:buNone/>
                  </a:pPr>
                  <a:r>
                    <a:rPr lang="ru-RU" sz="1600">
                      <a:solidFill>
                        <a:srgbClr val="789494"/>
                      </a:solidFill>
                      <a:latin typeface="Calibri"/>
                      <a:ea typeface="Calibri"/>
                      <a:cs typeface="Calibri"/>
                      <a:sym typeface="Calibri"/>
                    </a:rPr>
                    <a:t>Анализ и отчёт</a:t>
                  </a:r>
                  <a:endParaRPr sz="1600">
                    <a:solidFill>
                      <a:srgbClr val="789494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1" name="Google Shape;198;p14">
                  <a:extLst>
                    <a:ext uri="{FF2B5EF4-FFF2-40B4-BE49-F238E27FC236}">
                      <a16:creationId xmlns:a16="http://schemas.microsoft.com/office/drawing/2014/main" id="{FB965146-1B2A-9F22-560B-B74142995B1A}"/>
                    </a:ext>
                  </a:extLst>
                </p:cNvPr>
                <p:cNvSpPr/>
                <p:nvPr/>
              </p:nvSpPr>
              <p:spPr>
                <a:xfrm rot="-6480000">
                  <a:off x="2909973" y="3109354"/>
                  <a:ext cx="427219" cy="542006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solidFill>
                  <a:srgbClr val="C2EBE7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2" name="Google Shape;199;p14">
                  <a:extLst>
                    <a:ext uri="{FF2B5EF4-FFF2-40B4-BE49-F238E27FC236}">
                      <a16:creationId xmlns:a16="http://schemas.microsoft.com/office/drawing/2014/main" id="{D7B17784-C457-C2F3-20DE-24358A8E0853}"/>
                    </a:ext>
                  </a:extLst>
                </p:cNvPr>
                <p:cNvSpPr txBox="1"/>
                <p:nvPr/>
              </p:nvSpPr>
              <p:spPr>
                <a:xfrm rot="4320000">
                  <a:off x="2993859" y="3278702"/>
                  <a:ext cx="299053" cy="32520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500"/>
                    <a:buFont typeface="Calibri"/>
                    <a:buNone/>
                  </a:pPr>
                  <a:endParaRPr sz="15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" name="Google Shape;200;p14">
                  <a:extLst>
                    <a:ext uri="{FF2B5EF4-FFF2-40B4-BE49-F238E27FC236}">
                      <a16:creationId xmlns:a16="http://schemas.microsoft.com/office/drawing/2014/main" id="{904AA09C-B063-A886-6BD8-345CD3DEDD74}"/>
                    </a:ext>
                  </a:extLst>
                </p:cNvPr>
                <p:cNvSpPr/>
                <p:nvPr/>
              </p:nvSpPr>
              <p:spPr>
                <a:xfrm>
                  <a:off x="1944197" y="1418902"/>
                  <a:ext cx="1605944" cy="1605944"/>
                </a:xfrm>
                <a:prstGeom prst="ellipse">
                  <a:avLst/>
                </a:prstGeom>
                <a:solidFill>
                  <a:srgbClr val="F2F2C2"/>
                </a:solidFill>
                <a:ln w="12700" cap="flat" cmpd="sng">
                  <a:solidFill>
                    <a:schemeClr val="lt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4" name="Google Shape;201;p14">
                  <a:extLst>
                    <a:ext uri="{FF2B5EF4-FFF2-40B4-BE49-F238E27FC236}">
                      <a16:creationId xmlns:a16="http://schemas.microsoft.com/office/drawing/2014/main" id="{363D26C2-B617-756A-F193-77C1163397B5}"/>
                    </a:ext>
                  </a:extLst>
                </p:cNvPr>
                <p:cNvSpPr txBox="1"/>
                <p:nvPr/>
              </p:nvSpPr>
              <p:spPr>
                <a:xfrm>
                  <a:off x="2039159" y="1665497"/>
                  <a:ext cx="1388550" cy="11355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22850" tIns="22850" rIns="22850" bIns="2285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18BB1"/>
                    </a:buClr>
                    <a:buSzPts val="1800"/>
                    <a:buFont typeface="Calibri"/>
                    <a:buNone/>
                  </a:pPr>
                  <a:r>
                    <a:rPr lang="ru-RU" sz="1600">
                      <a:solidFill>
                        <a:srgbClr val="018BB1"/>
                      </a:solidFill>
                      <a:latin typeface="Calibri"/>
                      <a:ea typeface="Calibri"/>
                      <a:cs typeface="Calibri"/>
                      <a:sym typeface="Calibri"/>
                    </a:rPr>
                    <a:t>Внедрение мероприятий по улучшению</a:t>
                  </a:r>
                  <a:endParaRPr sz="1600"/>
                </a:p>
              </p:txBody>
            </p:sp>
            <p:sp>
              <p:nvSpPr>
                <p:cNvPr id="45" name="Google Shape;202;p14">
                  <a:extLst>
                    <a:ext uri="{FF2B5EF4-FFF2-40B4-BE49-F238E27FC236}">
                      <a16:creationId xmlns:a16="http://schemas.microsoft.com/office/drawing/2014/main" id="{E07F6805-827D-1456-E3BA-2BA0871CCD7F}"/>
                    </a:ext>
                  </a:extLst>
                </p:cNvPr>
                <p:cNvSpPr/>
                <p:nvPr/>
              </p:nvSpPr>
              <p:spPr>
                <a:xfrm rot="-2160000">
                  <a:off x="3499460" y="1249103"/>
                  <a:ext cx="427219" cy="542006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solidFill>
                  <a:srgbClr val="D5EEC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6" name="Google Shape;203;p14">
                  <a:extLst>
                    <a:ext uri="{FF2B5EF4-FFF2-40B4-BE49-F238E27FC236}">
                      <a16:creationId xmlns:a16="http://schemas.microsoft.com/office/drawing/2014/main" id="{3C6CEA5C-F6DC-7B20-5D9E-D630A1148E41}"/>
                    </a:ext>
                  </a:extLst>
                </p:cNvPr>
                <p:cNvSpPr txBox="1"/>
                <p:nvPr/>
              </p:nvSpPr>
              <p:spPr>
                <a:xfrm rot="-2160000">
                  <a:off x="3511699" y="1395171"/>
                  <a:ext cx="299053" cy="32520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500"/>
                    <a:buFont typeface="Calibri"/>
                    <a:buNone/>
                  </a:pPr>
                  <a:endParaRPr sz="15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5" name="Google Shape;185;p14">
                <a:extLst>
                  <a:ext uri="{FF2B5EF4-FFF2-40B4-BE49-F238E27FC236}">
                    <a16:creationId xmlns:a16="http://schemas.microsoft.com/office/drawing/2014/main" id="{FB535458-FC23-E618-DD6F-9A2F0322E653}"/>
                  </a:ext>
                </a:extLst>
              </p:cNvPr>
              <p:cNvSpPr txBox="1"/>
              <p:nvPr/>
            </p:nvSpPr>
            <p:spPr>
              <a:xfrm>
                <a:off x="7725956" y="940424"/>
                <a:ext cx="2733660" cy="11355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22850" tIns="22850" rIns="22850" bIns="228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Calibri"/>
                  <a:buNone/>
                </a:pPr>
                <a:r>
                  <a:rPr lang="ru-RU" sz="1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Calibri"/>
                    <a:cs typeface="Calibri"/>
                    <a:sym typeface="Calibri"/>
                  </a:rPr>
                  <a:t>Приоритеты организации / национальная политика</a:t>
                </a:r>
                <a:endParaRPr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</a:endParaRPr>
              </a:p>
            </p:txBody>
          </p:sp>
          <p:sp>
            <p:nvSpPr>
              <p:cNvPr id="16" name="Google Shape;189;p14">
                <a:extLst>
                  <a:ext uri="{FF2B5EF4-FFF2-40B4-BE49-F238E27FC236}">
                    <a16:creationId xmlns:a16="http://schemas.microsoft.com/office/drawing/2014/main" id="{B7F3446A-8C41-DF2D-DBBE-323946246CA4}"/>
                  </a:ext>
                </a:extLst>
              </p:cNvPr>
              <p:cNvSpPr txBox="1"/>
              <p:nvPr/>
            </p:nvSpPr>
            <p:spPr>
              <a:xfrm>
                <a:off x="9645136" y="2563949"/>
                <a:ext cx="1519047" cy="11355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22850" tIns="22850" rIns="22850" bIns="228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Calibri"/>
                  <a:buNone/>
                </a:pPr>
                <a:r>
                  <a:rPr lang="ru-RU" sz="1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Calibri"/>
                    <a:cs typeface="Calibri"/>
                    <a:sym typeface="Calibri"/>
                  </a:rPr>
                  <a:t>Результаты в сравнении с критериями / показателями </a:t>
                </a:r>
                <a:r>
                  <a:rPr lang="ru-RU" sz="140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Calibri"/>
                    <a:cs typeface="Calibri"/>
                    <a:sym typeface="Calibri"/>
                  </a:rPr>
                  <a:t>ISATCoVE</a:t>
                </a:r>
                <a:endParaRPr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</a:endParaRPr>
              </a:p>
            </p:txBody>
          </p:sp>
          <p:sp>
            <p:nvSpPr>
              <p:cNvPr id="22" name="Google Shape;189;p14">
                <a:extLst>
                  <a:ext uri="{FF2B5EF4-FFF2-40B4-BE49-F238E27FC236}">
                    <a16:creationId xmlns:a16="http://schemas.microsoft.com/office/drawing/2014/main" id="{309820E7-BD85-2DE4-8018-4297C1881F47}"/>
                  </a:ext>
                </a:extLst>
              </p:cNvPr>
              <p:cNvSpPr txBox="1"/>
              <p:nvPr/>
            </p:nvSpPr>
            <p:spPr>
              <a:xfrm>
                <a:off x="8724256" y="4800288"/>
                <a:ext cx="1964916" cy="11355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22850" tIns="22850" rIns="22850" bIns="228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Calibri"/>
                  <a:buNone/>
                </a:pPr>
                <a:r>
                  <a:rPr lang="ru-RU" sz="1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Calibri"/>
                    <a:cs typeface="Calibri"/>
                    <a:sym typeface="Calibri"/>
                  </a:rPr>
                  <a:t>Внедрение </a:t>
                </a:r>
              </a:p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Calibri"/>
                  <a:buNone/>
                </a:pPr>
                <a:r>
                  <a:rPr lang="en-GB" sz="140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Calibri"/>
                    <a:cs typeface="Calibri"/>
                    <a:sym typeface="Calibri"/>
                  </a:rPr>
                  <a:t>ISATCoVE</a:t>
                </a:r>
                <a:r>
                  <a:rPr lang="en-GB" sz="1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Calibri"/>
                    <a:cs typeface="Calibri"/>
                    <a:sym typeface="Calibri"/>
                  </a:rPr>
                  <a:t> </a:t>
                </a:r>
                <a:endParaRPr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</a:endParaRPr>
              </a:p>
            </p:txBody>
          </p:sp>
        </p:grpSp>
        <p:sp>
          <p:nvSpPr>
            <p:cNvPr id="47" name="Google Shape;204;p14">
              <a:extLst>
                <a:ext uri="{FF2B5EF4-FFF2-40B4-BE49-F238E27FC236}">
                  <a16:creationId xmlns:a16="http://schemas.microsoft.com/office/drawing/2014/main" id="{CFE7B974-E9BE-C453-D1C6-CEDCE115EB1D}"/>
                </a:ext>
              </a:extLst>
            </p:cNvPr>
            <p:cNvSpPr txBox="1"/>
            <p:nvPr/>
          </p:nvSpPr>
          <p:spPr>
            <a:xfrm>
              <a:off x="2195426" y="1989155"/>
              <a:ext cx="2005853" cy="7386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ea typeface="Calibri"/>
                  <a:cs typeface="Calibri"/>
                  <a:sym typeface="Calibri"/>
                </a:rPr>
                <a:t>Оценивать прогресс и вносить корректировки</a:t>
              </a:r>
              <a:endParaRPr sz="14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Calibri"/>
                <a:cs typeface="Calibri"/>
              </a:endParaRPr>
            </a:p>
          </p:txBody>
        </p:sp>
        <p:sp>
          <p:nvSpPr>
            <p:cNvPr id="48" name="Google Shape;206;p14">
              <a:extLst>
                <a:ext uri="{FF2B5EF4-FFF2-40B4-BE49-F238E27FC236}">
                  <a16:creationId xmlns:a16="http://schemas.microsoft.com/office/drawing/2014/main" id="{FB6BF575-3940-A71C-13C0-0736DEA41E92}"/>
                </a:ext>
              </a:extLst>
            </p:cNvPr>
            <p:cNvSpPr txBox="1"/>
            <p:nvPr/>
          </p:nvSpPr>
          <p:spPr>
            <a:xfrm>
              <a:off x="1686450" y="5250269"/>
              <a:ext cx="1519517" cy="7386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ea typeface="Calibri"/>
                  <a:cs typeface="Calibri"/>
                  <a:sym typeface="Calibri"/>
                </a:rPr>
                <a:t>Формирование культуры сотрудничества</a:t>
              </a:r>
              <a:endParaRPr sz="140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Calibri"/>
                <a:cs typeface="Calibri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EEF6C89D-894E-D981-A269-8EFF396A815E}"/>
              </a:ext>
            </a:extLst>
          </p:cNvPr>
          <p:cNvSpPr txBox="1"/>
          <p:nvPr/>
        </p:nvSpPr>
        <p:spPr>
          <a:xfrm>
            <a:off x="739561" y="2616556"/>
            <a:ext cx="3588178" cy="260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</a:pPr>
            <a:r>
              <a:rPr lang="ru-RU" sz="1600">
                <a:solidFill>
                  <a:schemeClr val="bg1"/>
                </a:solidFill>
                <a:latin typeface="Aptos" panose="020B0004020202020204" pitchFamily="34" charset="0"/>
              </a:rPr>
              <a:t>Интеграция в существующие процессы, включая</a:t>
            </a:r>
            <a:r>
              <a:rPr lang="en-GB" sz="1600">
                <a:solidFill>
                  <a:schemeClr val="bg1"/>
                </a:solidFill>
                <a:latin typeface="Aptos" panose="020B0004020202020204" pitchFamily="34" charset="0"/>
              </a:rPr>
              <a:t>:</a:t>
            </a: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>
                <a:solidFill>
                  <a:schemeClr val="bg1"/>
                </a:solidFill>
                <a:latin typeface="Aptos" panose="020B0004020202020204" pitchFamily="34" charset="0"/>
              </a:rPr>
              <a:t>процессы отчётности министерств и/или профильных ведомств;</a:t>
            </a: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>
                <a:solidFill>
                  <a:schemeClr val="bg1"/>
                </a:solidFill>
                <a:latin typeface="Aptos" panose="020B0004020202020204" pitchFamily="34" charset="0"/>
              </a:rPr>
              <a:t>процессы обеспечения качества;</a:t>
            </a: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>
                <a:solidFill>
                  <a:schemeClr val="bg1"/>
                </a:solidFill>
                <a:latin typeface="Aptos" panose="020B0004020202020204" pitchFamily="34" charset="0"/>
              </a:rPr>
              <a:t>процедуры оценки качества, самооценки и внутреннего анализа;</a:t>
            </a: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>
                <a:solidFill>
                  <a:schemeClr val="bg1"/>
                </a:solidFill>
                <a:latin typeface="Aptos" panose="020B0004020202020204" pitchFamily="34" charset="0"/>
              </a:rPr>
              <a:t>и </a:t>
            </a:r>
            <a:r>
              <a:rPr lang="ru-RU" sz="1600" err="1">
                <a:solidFill>
                  <a:schemeClr val="bg1"/>
                </a:solidFill>
                <a:latin typeface="Aptos" panose="020B0004020202020204" pitchFamily="34" charset="0"/>
              </a:rPr>
              <a:t>др</a:t>
            </a:r>
            <a:r>
              <a:rPr lang="en-GB" sz="160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3063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E91F1B-24D9-C67C-65AD-AC6A57C7E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30ACCE6-F661-F4DD-F492-8C56ABA9B7E7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14610BB-8244-7449-8AB5-3DA89FD6C2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17A0D148-0077-7CB7-AD72-5E6445DD97C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04A070-EB2F-E5CD-C400-EFBE4F05E6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775554-E64D-01E5-060E-0A8A005B6C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E1E3122-0638-8441-1A79-991E006B94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3CD56DA4-B923-1F5C-65F9-57044E6CA9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694D28F7-0A87-44B8-7806-77080F835A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631F3A2B-9DF1-2924-E860-FEA295E57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99" y="1314202"/>
            <a:ext cx="6696744" cy="3407803"/>
          </a:xfrm>
        </p:spPr>
        <p:txBody>
          <a:bodyPr>
            <a:noAutofit/>
          </a:bodyPr>
          <a:lstStyle/>
          <a:p>
            <a:pPr algn="ctr"/>
            <a:r>
              <a:rPr lang="en-GB" sz="3600" b="1" err="1">
                <a:ea typeface="+mj-lt"/>
                <a:cs typeface="+mj-lt"/>
              </a:rPr>
              <a:t>Cессия</a:t>
            </a:r>
            <a:r>
              <a:rPr lang="en-GB" sz="3600" b="1">
                <a:ea typeface="+mj-lt"/>
                <a:cs typeface="+mj-lt"/>
              </a:rPr>
              <a:t> </a:t>
            </a:r>
            <a:r>
              <a:rPr lang="en-GB" sz="3600" b="1" err="1">
                <a:ea typeface="+mj-lt"/>
                <a:cs typeface="+mj-lt"/>
              </a:rPr>
              <a:t>взаимного</a:t>
            </a:r>
            <a:r>
              <a:rPr lang="en-GB" sz="3600" b="1">
                <a:ea typeface="+mj-lt"/>
                <a:cs typeface="+mj-lt"/>
              </a:rPr>
              <a:t> </a:t>
            </a:r>
            <a:r>
              <a:rPr lang="en-GB" sz="3600" b="1" err="1">
                <a:ea typeface="+mj-lt"/>
                <a:cs typeface="+mj-lt"/>
              </a:rPr>
              <a:t>обучения</a:t>
            </a:r>
            <a:br>
              <a:rPr lang="en-GB" sz="3600" b="1"/>
            </a:br>
            <a:endParaRPr lang="en-GB" sz="3600" b="1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C3C2A6-CB75-DFB1-8AFC-B61CEBE9C123}"/>
              </a:ext>
            </a:extLst>
          </p:cNvPr>
          <p:cNvSpPr txBox="1"/>
          <p:nvPr/>
        </p:nvSpPr>
        <p:spPr>
          <a:xfrm>
            <a:off x="855946" y="3429000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600" b="1">
                <a:latin typeface="Arial"/>
                <a:cs typeface="Segoe UI"/>
              </a:rPr>
              <a:t>Peer learning session</a:t>
            </a:r>
            <a:endParaRPr lang="en-US" sz="3600" b="1">
              <a:cs typeface="Arial"/>
            </a:endParaRPr>
          </a:p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8985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8119EA-7579-E871-8809-C4F040BCE6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0399" y="1122363"/>
            <a:ext cx="5710865" cy="2387600"/>
          </a:xfrm>
        </p:spPr>
        <p:txBody>
          <a:bodyPr/>
          <a:lstStyle/>
          <a:p>
            <a:r>
              <a:rPr lang="ru-RU"/>
              <a:t>План развития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49F4BCE-7F08-D536-EEB9-44FFA057B8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44048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7C895-E9A9-FD20-6AAC-5D9F0316AD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Slide Number Placeholder 1">
            <a:extLst>
              <a:ext uri="{FF2B5EF4-FFF2-40B4-BE49-F238E27FC236}">
                <a16:creationId xmlns:a16="http://schemas.microsoft.com/office/drawing/2014/main" id="{97F28D42-49A0-C757-D1CB-2ED2AFCBF4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1044" name="Slide Number Placeholder 1">
            <a:extLst>
              <a:ext uri="{FF2B5EF4-FFF2-40B4-BE49-F238E27FC236}">
                <a16:creationId xmlns:a16="http://schemas.microsoft.com/office/drawing/2014/main" id="{349A6804-7C1B-9C2C-ED66-C0CE9EEF3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pic>
        <p:nvPicPr>
          <p:cNvPr id="1032" name="Picture 8" descr="Page 2 | People Images - Free Download on Freepik">
            <a:extLst>
              <a:ext uri="{FF2B5EF4-FFF2-40B4-BE49-F238E27FC236}">
                <a16:creationId xmlns:a16="http://schemas.microsoft.com/office/drawing/2014/main" id="{5CD8BA9F-8607-E467-6E87-9635B5473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0" r="3022" b="-1"/>
          <a:stretch>
            <a:fillRect/>
          </a:stretch>
        </p:blipFill>
        <p:spPr bwMode="auto">
          <a:xfrm>
            <a:off x="20" y="-13402"/>
            <a:ext cx="904830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C7AC885-E3B7-385F-C585-50D8237F7A65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90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AD40073-84E8-80F1-E025-EE0E894F0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т рефлексии к действиям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E1FD75D-424D-0D30-775D-2BD11AF949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049000" cy="4351338"/>
          </a:xfrm>
        </p:spPr>
        <p:txBody>
          <a:bodyPr>
            <a:normAutofit/>
          </a:bodyPr>
          <a:lstStyle/>
          <a:p>
            <a:r>
              <a:rPr lang="ru-RU" sz="3200">
                <a:latin typeface="Futura PT Medium" panose="020B0602020204020303" pitchFamily="34" charset="77"/>
              </a:rPr>
              <a:t>План развития = мост между самооценкой и конкретными улучшениями</a:t>
            </a:r>
          </a:p>
          <a:p>
            <a:r>
              <a:rPr lang="ru-RU" sz="3200">
                <a:latin typeface="Futura PT Medium" panose="020B0602020204020303" pitchFamily="34" charset="77"/>
              </a:rPr>
              <a:t>Основан на результатах самооценки ISAT-</a:t>
            </a:r>
            <a:r>
              <a:rPr lang="ru-RU" sz="3200" err="1">
                <a:latin typeface="Futura PT Medium" panose="020B0602020204020303" pitchFamily="34" charset="77"/>
              </a:rPr>
              <a:t>CoVE</a:t>
            </a:r>
            <a:r>
              <a:rPr lang="ru-RU" sz="3200">
                <a:latin typeface="Futura PT Medium" panose="020B0602020204020303" pitchFamily="34" charset="77"/>
              </a:rPr>
              <a:t>.</a:t>
            </a:r>
          </a:p>
          <a:p>
            <a:r>
              <a:rPr lang="ru-RU" sz="3200">
                <a:latin typeface="Futura PT Medium" panose="020B0602020204020303" pitchFamily="34" charset="77"/>
              </a:rPr>
              <a:t>Обеспечивает согласование локальной стратегии со стандартами </a:t>
            </a:r>
            <a:r>
              <a:rPr lang="ru-RU" sz="3200" err="1">
                <a:latin typeface="Futura PT Medium" panose="020B0602020204020303" pitchFamily="34" charset="77"/>
              </a:rPr>
              <a:t>CoVE</a:t>
            </a:r>
            <a:r>
              <a:rPr lang="ru-RU" sz="3200">
                <a:latin typeface="Futura PT Medium" panose="020B0602020204020303" pitchFamily="34" charset="77"/>
              </a:rPr>
              <a:t> ЕС.</a:t>
            </a:r>
            <a:endParaRPr lang="fr-FR" sz="3200">
              <a:latin typeface="Futura PT Medium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0726639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F8C760-7E7A-606F-097E-88775F000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/>
              <a:t>Почему план развития важен</a:t>
            </a:r>
            <a:r>
              <a:rPr lang="fr-FR" sz="4000"/>
              <a:t>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DA07A01-5340-2291-9ACB-A459AA1EFB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Преобразует рефлексию в чёткие, измеримые действия</a:t>
            </a:r>
          </a:p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Структурирует процесс улучшений по направлениям</a:t>
            </a:r>
            <a:r>
              <a:rPr lang="fr-BE">
                <a:latin typeface="Futura PT Medium" panose="020B0602020204020303" pitchFamily="34" charset="77"/>
              </a:rPr>
              <a:t>:</a:t>
            </a:r>
          </a:p>
          <a:p>
            <a:r>
              <a:rPr lang="ru-RU">
                <a:latin typeface="Futura PT Medium" panose="020B0602020204020303" pitchFamily="34" charset="77"/>
              </a:rPr>
              <a:t>Преподавание и обучение</a:t>
            </a:r>
            <a:endParaRPr lang="fr-BE">
              <a:latin typeface="Futura PT Medium" panose="020B0602020204020303" pitchFamily="34" charset="77"/>
            </a:endParaRPr>
          </a:p>
          <a:p>
            <a:r>
              <a:rPr lang="ru-RU">
                <a:latin typeface="Futura PT Medium" panose="020B0602020204020303" pitchFamily="34" charset="77"/>
              </a:rPr>
              <a:t>Партнёрство и сотрудничество</a:t>
            </a:r>
            <a:endParaRPr lang="fr-BE">
              <a:latin typeface="Futura PT Medium" panose="020B0602020204020303" pitchFamily="34" charset="77"/>
            </a:endParaRPr>
          </a:p>
          <a:p>
            <a:r>
              <a:rPr lang="ru-RU">
                <a:latin typeface="Futura PT Medium" panose="020B0602020204020303" pitchFamily="34" charset="77"/>
              </a:rPr>
              <a:t>Управление и финансирование</a:t>
            </a:r>
            <a:endParaRPr lang="fr-BE">
              <a:latin typeface="Futura PT Medium" panose="020B0602020204020303" pitchFamily="34" charset="77"/>
            </a:endParaRPr>
          </a:p>
          <a:p>
            <a:endParaRPr lang="fr-BE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/>
              <a:t>Делает прогресс наглядным, отслеживаемым и поддающимся мониторингу</a:t>
            </a:r>
            <a:endParaRPr lang="fr-FR">
              <a:latin typeface="Futura PT Medium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714258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964162-16F4-13A9-CAFF-D5C97391C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F70692E-29E8-88AA-A1E8-E1232284F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/>
              <a:t>Что мы учитывали при разработке плана?</a:t>
            </a:r>
            <a:endParaRPr lang="fr-BE" sz="3200" b="1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4B532D5-03F5-7184-0984-062DB0C6B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034010" cy="4351338"/>
          </a:xfrm>
        </p:spPr>
        <p:txBody>
          <a:bodyPr>
            <a:normAutofit/>
          </a:bodyPr>
          <a:lstStyle/>
          <a:p>
            <a:r>
              <a:rPr lang="ru-RU" sz="2400">
                <a:latin typeface="Futura PT Medium" panose="020B0602020204020303" pitchFamily="34" charset="77"/>
              </a:rPr>
              <a:t>Результаты самооценки </a:t>
            </a:r>
            <a:r>
              <a:rPr lang="fr-BE" sz="2400">
                <a:latin typeface="Futura PT Medium" panose="020B0602020204020303" pitchFamily="34" charset="77"/>
              </a:rPr>
              <a:t>ISAT-CoVE</a:t>
            </a:r>
          </a:p>
          <a:p>
            <a:r>
              <a:rPr lang="ru-RU" sz="2400">
                <a:latin typeface="Futura PT Medium" panose="020B0602020204020303" pitchFamily="34" charset="77"/>
              </a:rPr>
              <a:t>Региональный контекст и тенденции в сфере навыков</a:t>
            </a:r>
          </a:p>
          <a:p>
            <a:pPr marL="0" indent="0">
              <a:buNone/>
            </a:pPr>
            <a:r>
              <a:rPr lang="fr-BE" sz="1200" i="1">
                <a:latin typeface="Futura Medium" panose="020B0602020204020303" pitchFamily="34" charset="-79"/>
                <a:cs typeface="Futura Medium" panose="020B0602020204020303" pitchFamily="34" charset="-79"/>
              </a:rPr>
              <a:t>(</a:t>
            </a:r>
            <a:r>
              <a:rPr lang="ru-RU" sz="1200" i="1">
                <a:latin typeface="Futura Medium" panose="020B0602020204020303" pitchFamily="34" charset="-79"/>
                <a:cs typeface="Futura Medium" panose="020B0602020204020303" pitchFamily="34" charset="-79"/>
              </a:rPr>
              <a:t>разработанные до смены политического большинства, что впоследствии повлияло на условия реализации</a:t>
            </a:r>
            <a:r>
              <a:rPr lang="fr-BE" sz="1200" i="1">
                <a:latin typeface="Futura Medium" panose="020B0602020204020303" pitchFamily="34" charset="-79"/>
                <a:cs typeface="Futura Medium" panose="020B0602020204020303" pitchFamily="34" charset="-79"/>
              </a:rPr>
              <a:t>)</a:t>
            </a:r>
            <a:endParaRPr lang="fr-BE" sz="2000">
              <a:latin typeface="Futura PT Medium" panose="020B0602020204020303" pitchFamily="34" charset="77"/>
            </a:endParaRPr>
          </a:p>
          <a:p>
            <a:r>
              <a:rPr lang="ru-RU" sz="2400">
                <a:latin typeface="Futura PT Medium" panose="020B0602020204020303" pitchFamily="34" charset="77"/>
              </a:rPr>
              <a:t>Анализ профилей и потребностей обучающихся</a:t>
            </a:r>
          </a:p>
          <a:p>
            <a:r>
              <a:rPr lang="ru-RU" sz="2400">
                <a:latin typeface="Futura PT Medium" panose="020B0602020204020303" pitchFamily="34" charset="77"/>
              </a:rPr>
              <a:t>Тесное согласование с</a:t>
            </a:r>
            <a:r>
              <a:rPr lang="fr-BE" sz="2400">
                <a:latin typeface="Futura PT Medium" panose="020B0602020204020303" pitchFamily="34" charset="77"/>
              </a:rPr>
              <a:t>:</a:t>
            </a:r>
          </a:p>
          <a:p>
            <a:pPr lvl="1"/>
            <a:r>
              <a:rPr lang="ru-RU"/>
              <a:t>существующими региональными, общественными и европейскими планами;</a:t>
            </a:r>
          </a:p>
          <a:p>
            <a:pPr lvl="1"/>
            <a:r>
              <a:rPr lang="ru-RU" sz="2400">
                <a:latin typeface="Futura PT Medium" panose="020B0602020204020303" pitchFamily="34" charset="77"/>
              </a:rPr>
              <a:t>ежегодным планом развития, </a:t>
            </a:r>
            <a:r>
              <a:rPr lang="ru-RU"/>
              <a:t>чтобы обеспечить согласованность с другими многолетними отчётами и стратегическими рамками, от которых зависит наше финансирование.</a:t>
            </a:r>
          </a:p>
          <a:p>
            <a:pPr marL="266700" lvl="1" indent="-266700"/>
            <a:r>
              <a:rPr lang="ru-RU" sz="2400">
                <a:latin typeface="Futura PT Medium" panose="020B0602020204020303" pitchFamily="34" charset="77"/>
              </a:rPr>
              <a:t>Фокус на реалистичных, достижимых и устойчивых действиях</a:t>
            </a:r>
            <a:endParaRPr lang="fr-FR" sz="2400">
              <a:latin typeface="Futura PT Medium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978759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ACDA14-0D8B-3E19-5A42-38205B1796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8EF0CC-757E-1FC6-3BB3-A41DCA57D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/>
              <a:t>Кто был вовлечён в процесс?</a:t>
            </a:r>
            <a:endParaRPr lang="fr-BE" sz="3600" b="1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1C0D8B-1DED-C363-6AC0-D0DDA92830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Команда самооценки</a:t>
            </a:r>
          </a:p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Педагогическая команда и тренеры</a:t>
            </a:r>
          </a:p>
          <a:p>
            <a:pPr marL="0" indent="0">
              <a:buNone/>
            </a:pPr>
            <a:endParaRPr lang="ru-RU">
              <a:latin typeface="Futura PT Medium" panose="020B0602020204020303" pitchFamily="34" charset="77"/>
            </a:endParaRPr>
          </a:p>
          <a:p>
            <a:pPr marL="0" indent="0">
              <a:buNone/>
            </a:pPr>
            <a:r>
              <a:rPr lang="ru-RU">
                <a:latin typeface="Futura PT Medium" panose="020B0602020204020303" pitchFamily="34" charset="77"/>
              </a:rPr>
              <a:t>Руководство и дирекция:</a:t>
            </a:r>
            <a:endParaRPr lang="fr-BE">
              <a:latin typeface="Futura PT Medium" panose="020B0602020204020303" pitchFamily="34" charset="77"/>
            </a:endParaRPr>
          </a:p>
          <a:p>
            <a:r>
              <a:rPr lang="ru-RU">
                <a:latin typeface="Futura PT Medium" panose="020B0602020204020303" pitchFamily="34" charset="77"/>
              </a:rPr>
              <a:t>стратегическая валидация;</a:t>
            </a:r>
          </a:p>
          <a:p>
            <a:r>
              <a:rPr lang="ru-RU">
                <a:latin typeface="Futura PT Medium" panose="020B0602020204020303" pitchFamily="34" charset="77"/>
              </a:rPr>
              <a:t>распределение ресурсов.</a:t>
            </a:r>
            <a:endParaRPr lang="fr-BE">
              <a:latin typeface="Futura PT Medium" panose="020B0602020204020303" pitchFamily="34" charset="77"/>
            </a:endParaRPr>
          </a:p>
          <a:p>
            <a:endParaRPr lang="fr-BE">
              <a:latin typeface="Futura PT Medium" panose="020B0602020204020303" pitchFamily="34" charset="77"/>
            </a:endParaRPr>
          </a:p>
          <a:p>
            <a:pPr marL="0" indent="0">
              <a:buNone/>
            </a:pPr>
            <a:endParaRPr lang="fr-FR">
              <a:latin typeface="Futura PT Medium" panose="020B06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9036891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323E6-D9C1-0906-074F-5C3F9C43B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0E4B78D-96BD-F856-A8B2-13C95B361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/>
              <a:t>Пример мероприятия по улучшению</a:t>
            </a:r>
            <a:endParaRPr lang="fr-BE" sz="3600" b="1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D821289-EAC2-B489-3058-9D789ED64B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/>
              <a:t>Преподавание и обучение </a:t>
            </a:r>
            <a:r>
              <a:rPr lang="fr-BE" b="1"/>
              <a:t>– ISATCoVE TL10</a:t>
            </a:r>
          </a:p>
          <a:p>
            <a:pPr marL="0" indent="0">
              <a:buNone/>
            </a:pPr>
            <a:endParaRPr lang="fr-BE" b="1"/>
          </a:p>
          <a:p>
            <a:r>
              <a:rPr lang="ru-RU"/>
              <a:t>Внедрение</a:t>
            </a:r>
            <a:r>
              <a:rPr lang="ru-RU" b="1"/>
              <a:t> сертификации «</a:t>
            </a:r>
            <a:r>
              <a:rPr lang="ru-RU" b="1" err="1"/>
              <a:t>CeCAF</a:t>
            </a:r>
            <a:r>
              <a:rPr lang="ru-RU" b="1"/>
              <a:t>»</a:t>
            </a:r>
            <a:endParaRPr lang="ru-RU"/>
          </a:p>
          <a:p>
            <a:r>
              <a:rPr lang="ru-RU"/>
              <a:t>Признание и валидация компетенций обучающихся</a:t>
            </a:r>
          </a:p>
          <a:p>
            <a:r>
              <a:rPr lang="ru-RU"/>
              <a:t>Соответствие франкоязычной бельгийской системе квалификаций</a:t>
            </a:r>
          </a:p>
          <a:p>
            <a:r>
              <a:rPr lang="ru-RU"/>
              <a:t>Структурированный процесс валидации</a:t>
            </a:r>
            <a:r>
              <a:rPr lang="fr-BE"/>
              <a:t>:</a:t>
            </a:r>
          </a:p>
          <a:p>
            <a:pPr lvl="1"/>
            <a:r>
              <a:rPr lang="ru-RU"/>
              <a:t>документация;</a:t>
            </a:r>
          </a:p>
          <a:p>
            <a:pPr lvl="1"/>
            <a:r>
              <a:rPr lang="ru-RU"/>
              <a:t>оценивание;</a:t>
            </a:r>
          </a:p>
          <a:p>
            <a:pPr lvl="1"/>
            <a:r>
              <a:rPr lang="ru-RU"/>
              <a:t>выдача сертификата.</a:t>
            </a:r>
            <a:endParaRPr lang="fr-BE">
              <a:latin typeface="Futura PT Medium" panose="020B0602020204020303" pitchFamily="34" charset="77"/>
            </a:endParaRPr>
          </a:p>
          <a:p>
            <a:endParaRPr lang="fr-BE">
              <a:latin typeface="Futura PT Medium" panose="020B0602020204020303" pitchFamily="34" charset="77"/>
            </a:endParaRPr>
          </a:p>
          <a:p>
            <a:pPr marL="0" indent="0">
              <a:buNone/>
            </a:pPr>
            <a:endParaRPr lang="fr-FR">
              <a:latin typeface="Futura PT Medium" panose="020B0602020204020303" pitchFamily="34" charset="77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844940BC-8618-4D04-9F64-12EAA81C0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документация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оценивание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выдача сертификата.</a:t>
            </a:r>
          </a:p>
        </p:txBody>
      </p:sp>
    </p:spTree>
    <p:extLst>
      <p:ext uri="{BB962C8B-B14F-4D97-AF65-F5344CB8AC3E}">
        <p14:creationId xmlns:p14="http://schemas.microsoft.com/office/powerpoint/2010/main" val="244714235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A9B6EE-48ED-7E45-48F3-A7B5C51A8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/>
              <a:t>Как мы используем ISAT-</a:t>
            </a:r>
            <a:r>
              <a:rPr lang="ru-RU" sz="3200" err="1"/>
              <a:t>CoVE</a:t>
            </a:r>
            <a:r>
              <a:rPr lang="ru-RU" sz="3200"/>
              <a:t> для мониторинга прогресса?</a:t>
            </a:r>
            <a:endParaRPr lang="fr-FR" sz="320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788F530-DB2B-C25A-AC29-9EC69CB27F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/>
              <a:t>Используется как инструмент самооценки, а не как внешний аудит</a:t>
            </a:r>
          </a:p>
          <a:p>
            <a:pPr marL="0" indent="0">
              <a:buNone/>
            </a:pPr>
            <a:r>
              <a:rPr lang="ru-RU"/>
              <a:t>Мероприятия по улучшению рассматриваются как проекты, основанные на результатах ISAT-</a:t>
            </a:r>
            <a:r>
              <a:rPr lang="ru-RU" err="1"/>
              <a:t>CoVE</a:t>
            </a:r>
            <a:endParaRPr lang="ru-RU"/>
          </a:p>
          <a:p>
            <a:pPr marL="0" indent="0">
              <a:buNone/>
            </a:pPr>
            <a:r>
              <a:rPr lang="ru-RU"/>
              <a:t>Регулярное обращение к первоначально определённым элементам:</a:t>
            </a:r>
            <a:endParaRPr lang="fr-BE"/>
          </a:p>
          <a:p>
            <a:pPr lvl="1"/>
            <a:r>
              <a:rPr lang="ru-RU"/>
              <a:t>цели;</a:t>
            </a:r>
          </a:p>
          <a:p>
            <a:pPr lvl="1"/>
            <a:r>
              <a:rPr lang="ru-RU"/>
              <a:t>сроки;</a:t>
            </a:r>
          </a:p>
          <a:p>
            <a:pPr lvl="1"/>
            <a:r>
              <a:rPr lang="ru-RU"/>
              <a:t>ответственность.</a:t>
            </a:r>
          </a:p>
          <a:p>
            <a:pPr marL="457200" lvl="1" indent="-457200">
              <a:buNone/>
            </a:pPr>
            <a:r>
              <a:rPr lang="ru-RU" sz="2800"/>
              <a:t>Постоянный пересмотр для оценки</a:t>
            </a:r>
            <a:r>
              <a:rPr lang="fr-BE" sz="2800"/>
              <a:t>:</a:t>
            </a:r>
          </a:p>
          <a:p>
            <a:pPr lvl="1"/>
            <a:r>
              <a:rPr lang="ru-RU"/>
              <a:t>остаются ли сроки актуальными;</a:t>
            </a:r>
          </a:p>
          <a:p>
            <a:pPr lvl="1"/>
            <a:r>
              <a:rPr lang="ru-RU"/>
              <a:t>сохраняют ли цели свою значимость.</a:t>
            </a:r>
            <a:endParaRPr lang="fr-BE"/>
          </a:p>
          <a:p>
            <a:pPr marL="0" indent="0">
              <a:buNone/>
            </a:pPr>
            <a:r>
              <a:rPr lang="ru-RU"/>
              <a:t>Обеспечивает общую рамку и единый язык для диалога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022597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81BE33-C64E-B195-3F06-D697BC9B4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/>
              <a:t>Что обеспечивает эффективность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FA11A58-9C04-E879-D0CE-7E53D4160B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>
                <a:latin typeface="Futura Medium" panose="020B0602020204020303" pitchFamily="34" charset="-79"/>
                <a:cs typeface="Futura Medium" panose="020B0602020204020303" pitchFamily="34" charset="-79"/>
              </a:rPr>
              <a:t>План развития должен быть реалистичным и выполнимым</a:t>
            </a:r>
          </a:p>
          <a:p>
            <a:pPr marL="0" indent="0">
              <a:buNone/>
            </a:pPr>
            <a:endParaRPr lang="fr-BE" sz="24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2400">
                <a:latin typeface="Futura Medium" panose="020B0602020204020303" pitchFamily="34" charset="-79"/>
                <a:cs typeface="Futura Medium" panose="020B0602020204020303" pitchFamily="34" charset="-79"/>
              </a:rPr>
              <a:t>Одного плана недостаточно:</a:t>
            </a:r>
          </a:p>
          <a:p>
            <a:pPr marL="0" indent="0">
              <a:buNone/>
            </a:pPr>
            <a:r>
              <a:rPr lang="ru-RU" sz="2000">
                <a:latin typeface="Futura Medium" panose="020B0602020204020303" pitchFamily="34" charset="-79"/>
                <a:cs typeface="Futura Medium" panose="020B0602020204020303" pitchFamily="34" charset="-79"/>
              </a:rPr>
              <a:t>он требует наличия вовлечённой и мотивированной команды.</a:t>
            </a:r>
          </a:p>
          <a:p>
            <a:pPr marL="0" indent="0">
              <a:buNone/>
            </a:pPr>
            <a:endParaRPr lang="fr-BE" sz="20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2400">
                <a:latin typeface="Futura Medium" panose="020B0602020204020303" pitchFamily="34" charset="-79"/>
                <a:cs typeface="Futura Medium" panose="020B0602020204020303" pitchFamily="34" charset="-79"/>
              </a:rPr>
              <a:t>Распределение финансовых и человеческих ресурсов является ключевым</a:t>
            </a:r>
          </a:p>
          <a:p>
            <a:pPr marL="0" indent="0">
              <a:buNone/>
            </a:pPr>
            <a:endParaRPr lang="fr-BE" sz="2400">
              <a:latin typeface="Futura Medium" panose="020B0602020204020303" pitchFamily="34" charset="-79"/>
              <a:cs typeface="Futura Medium" panose="020B0602020204020303" pitchFamily="34" charset="-79"/>
            </a:endParaRPr>
          </a:p>
          <a:p>
            <a:pPr marL="0" indent="0">
              <a:buNone/>
            </a:pPr>
            <a:r>
              <a:rPr lang="ru-RU" sz="2400">
                <a:latin typeface="Futura Medium" panose="020B0602020204020303" pitchFamily="34" charset="-79"/>
                <a:cs typeface="Futura Medium" panose="020B0602020204020303" pitchFamily="34" charset="-79"/>
              </a:rPr>
              <a:t>Успех зависит от вовлечённости всей организации</a:t>
            </a:r>
            <a:endParaRPr lang="fr-FR" sz="2400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85439693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ED3E2A-4234-B229-FB97-D5DAA14C6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ru-RU" sz="3600" b="1"/>
              <a:t>Текущий статус плана развития</a:t>
            </a:r>
            <a:endParaRPr lang="fr-FR" sz="3600"/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4F81FB9C-06AC-DC20-ED7E-3D14787329F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9818454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B85570-4AA9-0586-F0B5-0459C05AE3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Slide Number Placeholder 1">
            <a:extLst>
              <a:ext uri="{FF2B5EF4-FFF2-40B4-BE49-F238E27FC236}">
                <a16:creationId xmlns:a16="http://schemas.microsoft.com/office/drawing/2014/main" id="{5B30BE25-39C4-5C12-FA85-1C433E9C0E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88</a:t>
            </a:fld>
            <a:endParaRPr lang="en-US"/>
          </a:p>
        </p:txBody>
      </p:sp>
      <p:sp>
        <p:nvSpPr>
          <p:cNvPr id="1044" name="Slide Number Placeholder 1">
            <a:extLst>
              <a:ext uri="{FF2B5EF4-FFF2-40B4-BE49-F238E27FC236}">
                <a16:creationId xmlns:a16="http://schemas.microsoft.com/office/drawing/2014/main" id="{834E0DAE-F3C7-60C5-7211-CFD2288B9A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80576" y="6365040"/>
            <a:ext cx="287536" cy="293663"/>
          </a:xfrm>
        </p:spPr>
        <p:txBody>
          <a:bodyPr/>
          <a:lstStyle/>
          <a:p>
            <a:pPr>
              <a:spcAft>
                <a:spcPts val="600"/>
              </a:spcAft>
            </a:pPr>
            <a:fld id="{3DB84476-BC29-4407-9D57-B2E562B8968B}" type="slidenum">
              <a:rPr lang="en-US" smtClean="0"/>
              <a:pPr>
                <a:spcAft>
                  <a:spcPts val="600"/>
                </a:spcAft>
              </a:pPr>
              <a:t>88</a:t>
            </a:fld>
            <a:endParaRPr lang="en-US"/>
          </a:p>
        </p:txBody>
      </p:sp>
      <p:pic>
        <p:nvPicPr>
          <p:cNvPr id="1032" name="Picture 8" descr="Page 2 | People Images - Free Download on Freepik">
            <a:extLst>
              <a:ext uri="{FF2B5EF4-FFF2-40B4-BE49-F238E27FC236}">
                <a16:creationId xmlns:a16="http://schemas.microsoft.com/office/drawing/2014/main" id="{4D390B41-32D8-C8BB-AE73-515D706240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0" r="3022" b="-1"/>
          <a:stretch>
            <a:fillRect/>
          </a:stretch>
        </p:blipFill>
        <p:spPr bwMode="auto">
          <a:xfrm>
            <a:off x="20" y="-13402"/>
            <a:ext cx="904830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EECF27A-D899-2256-949D-B719BAC0EF75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87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1CD868-5E4A-F999-6EAE-7846DDC74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2191255-F437-2397-ADBB-E7D0EEE1A8F8}"/>
              </a:ext>
            </a:extLst>
          </p:cNvPr>
          <p:cNvSpPr/>
          <p:nvPr/>
        </p:nvSpPr>
        <p:spPr>
          <a:xfrm flipH="1">
            <a:off x="9408368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4C4F75-3DD9-A3A1-FE5E-4C527E5809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89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1FEF180-7C94-0017-8E01-73797E9A4E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10820861" cy="4608487"/>
          </a:xfrm>
        </p:spPr>
        <p:txBody>
          <a:bodyPr vert="horz" lIns="0" tIns="0" rIns="91440" bIns="0" rtlCol="0" anchor="t">
            <a:normAutofit/>
          </a:bodyPr>
          <a:lstStyle/>
          <a:p>
            <a:r>
              <a:rPr lang="ru-RU">
                <a:cs typeface="Arial"/>
              </a:rPr>
              <a:t>Обсуждение в малых группах</a:t>
            </a:r>
            <a:r>
              <a:rPr lang="en-GB">
                <a:cs typeface="Arial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0">
                <a:cs typeface="Arial"/>
              </a:rPr>
              <a:t>Каков ваш опыт в разработке планов развития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0">
                <a:cs typeface="Arial"/>
              </a:rPr>
              <a:t>Какую роль, по вашему мнению, план развития ISATCOVE может сыграть в поддержке повышения профессионального мастерства  в вашем центре?</a:t>
            </a:r>
          </a:p>
          <a:p>
            <a:pPr marL="285750" indent="-285750">
              <a:buFontTx/>
              <a:buChar char="-"/>
            </a:pPr>
            <a:endParaRPr lang="en-GB"/>
          </a:p>
          <a:p>
            <a:r>
              <a:rPr lang="ru-RU">
                <a:cs typeface="Arial"/>
              </a:rPr>
              <a:t>Пленарное обсуждение:</a:t>
            </a:r>
          </a:p>
          <a:p>
            <a:r>
              <a:rPr lang="ru-RU" b="0">
                <a:cs typeface="Arial"/>
              </a:rPr>
              <a:t>2–3 группы поделятся своими размышлениями.</a:t>
            </a:r>
          </a:p>
          <a:p>
            <a:r>
              <a:rPr lang="ru-RU" b="0">
                <a:cs typeface="Arial"/>
              </a:rPr>
              <a:t>Другие группы прокомментируют, зададут вопросы или предложат рекомендации.</a:t>
            </a:r>
            <a:endParaRPr lang="en-GB">
              <a:cs typeface="Arial"/>
            </a:endParaRPr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0789661B-BB23-04AC-B049-D60F914EA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007803" cy="1080120"/>
          </a:xfrm>
        </p:spPr>
        <p:txBody>
          <a:bodyPr>
            <a:normAutofit fontScale="90000"/>
          </a:bodyPr>
          <a:lstStyle/>
          <a:p>
            <a:r>
              <a:rPr lang="ru-RU" sz="2400">
                <a:solidFill>
                  <a:schemeClr val="accent2"/>
                </a:solidFill>
              </a:rPr>
              <a:t>Упражнение</a:t>
            </a:r>
            <a:r>
              <a:rPr lang="en-GB" sz="2400">
                <a:solidFill>
                  <a:schemeClr val="accent2"/>
                </a:solidFill>
              </a:rPr>
              <a:t> 2</a:t>
            </a:r>
            <a:br>
              <a:rPr lang="en-GB"/>
            </a:br>
            <a:r>
              <a:rPr lang="ru-RU"/>
              <a:t>Движение к профессиональному мастерству  в ПОО</a:t>
            </a:r>
            <a:endParaRPr lang="en-GB"/>
          </a:p>
        </p:txBody>
      </p:sp>
      <p:sp>
        <p:nvSpPr>
          <p:cNvPr id="4" name="Content Placeholder 48">
            <a:extLst>
              <a:ext uri="{FF2B5EF4-FFF2-40B4-BE49-F238E27FC236}">
                <a16:creationId xmlns:a16="http://schemas.microsoft.com/office/drawing/2014/main" id="{6F034D1E-9C8E-A258-66AE-0841D0188BE5}"/>
              </a:ext>
            </a:extLst>
          </p:cNvPr>
          <p:cNvSpPr txBox="1">
            <a:spLocks/>
          </p:cNvSpPr>
          <p:nvPr/>
        </p:nvSpPr>
        <p:spPr>
          <a:xfrm>
            <a:off x="623887" y="5574500"/>
            <a:ext cx="10492132" cy="878812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762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52438" indent="-1873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7550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Пожалуйста, назначьте одного ответственного за представление результатов от каждой группы.</a:t>
            </a:r>
          </a:p>
        </p:txBody>
      </p:sp>
    </p:spTree>
    <p:extLst>
      <p:ext uri="{BB962C8B-B14F-4D97-AF65-F5344CB8AC3E}">
        <p14:creationId xmlns:p14="http://schemas.microsoft.com/office/powerpoint/2010/main" val="2751325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A34C12-F0E3-4383-F3BC-7D7DAE3AC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8762F4-1368-FF43-2300-8BFA664C67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143672" cy="4342682"/>
          </a:xfr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1C575A-C6E3-7F60-52C7-0373BCEA44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546188-31F3-8E42-E155-2A749E16D6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063552" cy="6285957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2CB652B-6875-1992-1DA8-7102AAC43657}"/>
              </a:ext>
            </a:extLst>
          </p:cNvPr>
          <p:cNvSpPr txBox="1">
            <a:spLocks/>
          </p:cNvSpPr>
          <p:nvPr/>
        </p:nvSpPr>
        <p:spPr>
          <a:xfrm>
            <a:off x="406770" y="1263459"/>
            <a:ext cx="11782808" cy="30809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762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52438" indent="-1873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7550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000"/>
          </a:p>
          <a:p>
            <a:pPr algn="ctr"/>
            <a:r>
              <a:rPr lang="ru-RU" sz="4000"/>
              <a:t>Как вы понимаете </a:t>
            </a:r>
            <a:r>
              <a:rPr lang="en-GB" sz="4000"/>
              <a:t>                </a:t>
            </a:r>
            <a:r>
              <a:rPr lang="ru-RU" sz="4000">
                <a:solidFill>
                  <a:schemeClr val="accent2"/>
                </a:solidFill>
              </a:rPr>
              <a:t>«</a:t>
            </a:r>
            <a:r>
              <a:rPr lang="ru-RU" sz="4000" err="1">
                <a:solidFill>
                  <a:schemeClr val="accent2"/>
                </a:solidFill>
              </a:rPr>
              <a:t>професссиональное</a:t>
            </a:r>
            <a:r>
              <a:rPr lang="ru-RU" sz="4000">
                <a:solidFill>
                  <a:schemeClr val="accent2"/>
                </a:solidFill>
              </a:rPr>
              <a:t> мастерство</a:t>
            </a:r>
            <a:r>
              <a:rPr lang="en-GB" sz="4000"/>
              <a:t> </a:t>
            </a:r>
            <a:r>
              <a:rPr lang="ru-RU" sz="4000"/>
              <a:t>в ПОО»</a:t>
            </a:r>
            <a:r>
              <a:rPr lang="en-GB" sz="4000"/>
              <a:t>?</a:t>
            </a:r>
          </a:p>
          <a:p>
            <a:pPr algn="ctr"/>
            <a:endParaRPr lang="en-GB" sz="4000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8CB387D9-FAFB-CB4C-D4C7-1670DB60E2B9}"/>
              </a:ext>
            </a:extLst>
          </p:cNvPr>
          <p:cNvSpPr txBox="1">
            <a:spLocks/>
          </p:cNvSpPr>
          <p:nvPr/>
        </p:nvSpPr>
        <p:spPr>
          <a:xfrm>
            <a:off x="2135361" y="3676390"/>
            <a:ext cx="8332223" cy="1778022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762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52438" indent="-1873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7550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GB" sz="3200">
                <a:solidFill>
                  <a:schemeClr val="tx1">
                    <a:lumMod val="65000"/>
                    <a:lumOff val="35000"/>
                  </a:schemeClr>
                </a:solidFill>
              </a:rPr>
              <a:t>How do you define Excellence in TVET?</a:t>
            </a:r>
          </a:p>
          <a:p>
            <a:pPr algn="ctr"/>
            <a:endParaRPr lang="en-GB" sz="32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5649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827EA-B2F3-4303-D438-FA8212847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BBE9919-C76E-7B78-C87B-F3721CC4C069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AD5C82D-A129-0CBD-946E-CC24AB2680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01163" y="36598"/>
            <a:ext cx="1783073" cy="1715333"/>
          </a:xfrm>
          <a:prstGeom prst="rect">
            <a:avLst/>
          </a:prstGeom>
          <a:noFill/>
        </p:spPr>
      </p:pic>
      <p:pic>
        <p:nvPicPr>
          <p:cNvPr id="5" name="Picture Placeholder 4" descr="A blue circle with yellow text and a book&#10;&#10;AI-generated content may be incorrect.">
            <a:extLst>
              <a:ext uri="{FF2B5EF4-FFF2-40B4-BE49-F238E27FC236}">
                <a16:creationId xmlns:a16="http://schemas.microsoft.com/office/drawing/2014/main" id="{F7EA2AE8-3278-8F91-8F6C-99B9DF7A1CA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3669" b="3669"/>
          <a:stretch/>
        </p:blipFill>
        <p:spPr>
          <a:xfrm>
            <a:off x="10584493" y="219206"/>
            <a:ext cx="1138959" cy="10751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957AE99-BCCB-FE50-CF45-C2988556D4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B00E2E-D54B-9FC8-6768-81EE4FEC7D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7B51DB-C30F-8177-4B7F-604D5B75DE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04D45C3F-A9A4-70CE-BC65-D55FB650B2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7ED58535-E83E-07EA-352C-7C227E3A6C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DD1832C0-7910-3198-1F10-446D766EBE55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212009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en-GB" sz="3600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35C500-59E3-D4C8-02F9-CDAD7DE4BB17}"/>
              </a:ext>
            </a:extLst>
          </p:cNvPr>
          <p:cNvSpPr txBox="1"/>
          <p:nvPr/>
        </p:nvSpPr>
        <p:spPr>
          <a:xfrm>
            <a:off x="615863" y="2176397"/>
            <a:ext cx="6096000" cy="52937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4000" b="1" cap="all">
                <a:latin typeface="Arial"/>
                <a:cs typeface="Arial"/>
              </a:rPr>
              <a:t>Спасибо! Увидимся завтра</a:t>
            </a:r>
            <a:endParaRPr lang="en-US" sz="4000" cap="all">
              <a:latin typeface="Arial"/>
              <a:cs typeface="Arial"/>
            </a:endParaRPr>
          </a:p>
          <a:p>
            <a:pPr algn="ctr"/>
            <a:endParaRPr lang="ru-RU" sz="4000" cap="all">
              <a:latin typeface="Arial"/>
              <a:cs typeface="Arial"/>
            </a:endParaRPr>
          </a:p>
          <a:p>
            <a:pPr algn="ctr"/>
            <a:r>
              <a:rPr lang="en-GB" sz="4000" b="1" cap="all">
                <a:latin typeface="Arial"/>
                <a:cs typeface="Arial"/>
              </a:rPr>
              <a:t>Thanks! See you tomorrow</a:t>
            </a:r>
            <a:endParaRPr lang="en-GB" sz="4000" cap="all">
              <a:latin typeface="Arial"/>
              <a:cs typeface="Arial"/>
            </a:endParaRPr>
          </a:p>
          <a:p>
            <a:pPr algn="ctr"/>
            <a:endParaRPr lang="en-GB" sz="4000" cap="all">
              <a:latin typeface="Arial"/>
              <a:cs typeface="Arial"/>
            </a:endParaRPr>
          </a:p>
          <a:p>
            <a:pPr algn="ctr"/>
            <a:endParaRPr lang="ru-RU" sz="4000" b="1" cap="all">
              <a:cs typeface="Arial"/>
            </a:endParaRPr>
          </a:p>
          <a:p>
            <a:pPr algn="ctr"/>
            <a:endParaRPr lang="ru-RU" sz="4000" b="1" cap="all">
              <a:cs typeface="Arial"/>
            </a:endParaRPr>
          </a:p>
          <a:p>
            <a:pPr algn="ctr"/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46182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98"/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ae32bb-a161-4da2-a912-3fd4ef5c7b4c">
      <Terms xmlns="http://schemas.microsoft.com/office/infopath/2007/PartnerControls"/>
    </lcf76f155ced4ddcb4097134ff3c332f>
    <TaxCatchAll xmlns="5bf4adf3-0360-4285-b414-8a1933b4cf4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D2F5C2D7F38543A7DECC0B91FBF8EC" ma:contentTypeVersion="19" ma:contentTypeDescription="Create a new document." ma:contentTypeScope="" ma:versionID="61d37e4aa1960fcbd4a976e882cb1bfa">
  <xsd:schema xmlns:xsd="http://www.w3.org/2001/XMLSchema" xmlns:xs="http://www.w3.org/2001/XMLSchema" xmlns:p="http://schemas.microsoft.com/office/2006/metadata/properties" xmlns:ns2="f3ae32bb-a161-4da2-a912-3fd4ef5c7b4c" xmlns:ns3="5bf4adf3-0360-4285-b414-8a1933b4cf43" targetNamespace="http://schemas.microsoft.com/office/2006/metadata/properties" ma:root="true" ma:fieldsID="b6b0a3ba9366afb2b3b3a0d426399ddb" ns2:_="" ns3:_="">
    <xsd:import namespace="f3ae32bb-a161-4da2-a912-3fd4ef5c7b4c"/>
    <xsd:import namespace="5bf4adf3-0360-4285-b414-8a1933b4cf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e32bb-a161-4da2-a912-3fd4ef5c7b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4adf3-0360-4285-b414-8a1933b4c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89058e7-3c1f-447e-868b-29c765caa27c}" ma:internalName="TaxCatchAll" ma:showField="CatchAllData" ma:web="5bf4adf3-0360-4285-b414-8a1933b4c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8048-C8CE-46D0-9F0D-64B47A806E90}">
  <ds:schemaRefs>
    <ds:schemaRef ds:uri="5bf4adf3-0360-4285-b414-8a1933b4cf43"/>
    <ds:schemaRef ds:uri="f3ae32bb-a161-4da2-a912-3fd4ef5c7b4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2DE8D46-93BE-47CA-8431-63F0618C7D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53C64F-300B-4C83-8DB5-416D02EE08C3}">
  <ds:schemaRefs>
    <ds:schemaRef ds:uri="5bf4adf3-0360-4285-b414-8a1933b4cf43"/>
    <ds:schemaRef ds:uri="f3ae32bb-a161-4da2-a912-3fd4ef5c7b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90</Slides>
  <Notes>4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0</vt:i4>
      </vt:variant>
    </vt:vector>
  </HeadingPairs>
  <TitlesOfParts>
    <vt:vector size="92" baseType="lpstr">
      <vt:lpstr>ETF DARYA Template</vt:lpstr>
      <vt:lpstr>1_ETF DARYA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артнёрства ЦПМ за пределами Европ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Реализация ISATCOV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ессия взаимного обучения </vt:lpstr>
      <vt:lpstr>Technobel  Мы создатели</vt:lpstr>
      <vt:lpstr>Кто я?</vt:lpstr>
      <vt:lpstr>Повестка</vt:lpstr>
      <vt:lpstr>PowerPoint Presentation</vt:lpstr>
      <vt:lpstr>Бельгия</vt:lpstr>
      <vt:lpstr>Бельгия</vt:lpstr>
      <vt:lpstr>Бельгия</vt:lpstr>
      <vt:lpstr>PowerPoint Presentation</vt:lpstr>
      <vt:lpstr>Широкая территориальная представленность</vt:lpstr>
      <vt:lpstr>Ценности</vt:lpstr>
      <vt:lpstr>Задачи Центра компетенций</vt:lpstr>
      <vt:lpstr>Добавленная ценность взаимодействия с различными целевыми группами</vt:lpstr>
      <vt:lpstr>Признание</vt:lpstr>
      <vt:lpstr>Финансирование</vt:lpstr>
      <vt:lpstr>Финансирование</vt:lpstr>
      <vt:lpstr>Финансовая структура </vt:lpstr>
      <vt:lpstr>Финансовая структура</vt:lpstr>
      <vt:lpstr>Isatcove</vt:lpstr>
      <vt:lpstr>Почему  IsatCove ?</vt:lpstr>
      <vt:lpstr>Почему IsatCove ?</vt:lpstr>
      <vt:lpstr>Выбор критериев</vt:lpstr>
      <vt:lpstr>Основные индикаторы</vt:lpstr>
      <vt:lpstr>Основные индикаторы</vt:lpstr>
      <vt:lpstr>Основные индикаторы</vt:lpstr>
      <vt:lpstr>Как была сформирована команда самооценки?</vt:lpstr>
      <vt:lpstr>Заинтересованные стороны, вовлечённые в самооценку</vt:lpstr>
      <vt:lpstr>Вызовы</vt:lpstr>
      <vt:lpstr>Лучшие практики дляTechnobel</vt:lpstr>
      <vt:lpstr>5 советов</vt:lpstr>
      <vt:lpstr>PowerPoint Presentation</vt:lpstr>
      <vt:lpstr>Упражнение 1:  Внедрение ISATCOVE — участники (акторы) 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ессия взаимного обучения </vt:lpstr>
      <vt:lpstr>План развития</vt:lpstr>
      <vt:lpstr>От рефлексии к действиям</vt:lpstr>
      <vt:lpstr>Почему план развития важен?</vt:lpstr>
      <vt:lpstr>Что мы учитывали при разработке плана?</vt:lpstr>
      <vt:lpstr>Кто был вовлечён в процесс?</vt:lpstr>
      <vt:lpstr>Пример мероприятия по улучшению</vt:lpstr>
      <vt:lpstr>Как мы используем ISAT-CoVE для мониторинга прогресса?</vt:lpstr>
      <vt:lpstr>Что обеспечивает эффективность</vt:lpstr>
      <vt:lpstr>Текущий статус плана развития</vt:lpstr>
      <vt:lpstr>PowerPoint Presentation</vt:lpstr>
      <vt:lpstr>Упражнение 2 Движение к профессиональному мастерству  в ПОО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ew Mason</dc:creator>
  <cp:revision>6</cp:revision>
  <dcterms:created xsi:type="dcterms:W3CDTF">2020-12-15T11:10:02Z</dcterms:created>
  <dcterms:modified xsi:type="dcterms:W3CDTF">2026-02-17T15:5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899162D-1F95-4187-B729-CDF75F891726</vt:lpwstr>
  </property>
  <property fmtid="{D5CDD505-2E9C-101B-9397-08002B2CF9AE}" pid="3" name="ArticulatePath">
    <vt:lpwstr>Presentation1</vt:lpwstr>
  </property>
  <property fmtid="{D5CDD505-2E9C-101B-9397-08002B2CF9AE}" pid="4" name="ContentTypeId">
    <vt:lpwstr>0x010100C9D2F5C2D7F38543A7DECC0B91FBF8EC</vt:lpwstr>
  </property>
  <property fmtid="{D5CDD505-2E9C-101B-9397-08002B2CF9AE}" pid="5" name="MediaServiceImageTags">
    <vt:lpwstr/>
  </property>
  <property fmtid="{D5CDD505-2E9C-101B-9397-08002B2CF9AE}" pid="6" name="_dlc_DocIdItemGuid">
    <vt:lpwstr>bc320b55-8f76-424b-afb5-97f0c04d9e3a</vt:lpwstr>
  </property>
</Properties>
</file>